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841" r:id="rId4"/>
  </p:sldMasterIdLst>
  <p:notesMasterIdLst>
    <p:notesMasterId r:id="rId25"/>
  </p:notesMasterIdLst>
  <p:sldIdLst>
    <p:sldId id="289" r:id="rId5"/>
    <p:sldId id="270" r:id="rId6"/>
    <p:sldId id="292" r:id="rId7"/>
    <p:sldId id="288" r:id="rId8"/>
    <p:sldId id="2064" r:id="rId9"/>
    <p:sldId id="280" r:id="rId10"/>
    <p:sldId id="273" r:id="rId11"/>
    <p:sldId id="279" r:id="rId12"/>
    <p:sldId id="278" r:id="rId13"/>
    <p:sldId id="277" r:id="rId14"/>
    <p:sldId id="264" r:id="rId15"/>
    <p:sldId id="263" r:id="rId16"/>
    <p:sldId id="262" r:id="rId17"/>
    <p:sldId id="261" r:id="rId18"/>
    <p:sldId id="260" r:id="rId19"/>
    <p:sldId id="2060" r:id="rId20"/>
    <p:sldId id="266" r:id="rId21"/>
    <p:sldId id="274" r:id="rId22"/>
    <p:sldId id="272" r:id="rId23"/>
    <p:sldId id="276"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ielle Barnum" initials="DB" lastIdx="13" clrIdx="0">
    <p:extLst>
      <p:ext uri="{19B8F6BF-5375-455C-9EA6-DF929625EA0E}">
        <p15:presenceInfo xmlns:p15="http://schemas.microsoft.com/office/powerpoint/2012/main" userId="S::danielleb@audienz.com::26cca7e4-4818-41c5-86e0-4bd2001cdc77" providerId="AD"/>
      </p:ext>
    </p:extLst>
  </p:cmAuthor>
  <p:cmAuthor id="2" name="Quincy Kosena" initials="QK" lastIdx="6" clrIdx="1">
    <p:extLst>
      <p:ext uri="{19B8F6BF-5375-455C-9EA6-DF929625EA0E}">
        <p15:presenceInfo xmlns:p15="http://schemas.microsoft.com/office/powerpoint/2012/main" userId="S::quincy@audienz.com::34552e9c-390f-40b5-8a42-f626db2682a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53BC"/>
    <a:srgbClr val="2C3178"/>
    <a:srgbClr val="5C2D91"/>
    <a:srgbClr val="32145A"/>
    <a:srgbClr val="F5F0FA"/>
    <a:srgbClr val="E5D9F3"/>
    <a:srgbClr val="B4A0FF"/>
    <a:srgbClr val="F3EFFF"/>
    <a:srgbClr val="EBE5FF"/>
    <a:srgbClr val="E9EA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1182D8-5E0F-C0C9-A2DC-99E8124F4E5D}" v="475" dt="2020-07-29T22:46:15.045"/>
    <p1510:client id="{48539556-DFC7-D249-8795-67459417A1A9}" v="10" dt="2020-06-24T02:15:54.28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316" autoAdjust="0"/>
    <p:restoredTop sz="89939" autoAdjust="0"/>
  </p:normalViewPr>
  <p:slideViewPr>
    <p:cSldViewPr snapToGrid="0">
      <p:cViewPr>
        <p:scale>
          <a:sx n="100" d="100"/>
          <a:sy n="100" d="100"/>
        </p:scale>
        <p:origin x="948" y="312"/>
      </p:cViewPr>
      <p:guideLst/>
    </p:cSldViewPr>
  </p:slideViewPr>
  <p:notesTextViewPr>
    <p:cViewPr>
      <p:scale>
        <a:sx n="1" d="1"/>
        <a:sy n="1" d="1"/>
      </p:scale>
      <p:origin x="0" y="0"/>
    </p:cViewPr>
  </p:notesTextViewPr>
  <p:sorterViewPr>
    <p:cViewPr>
      <p:scale>
        <a:sx n="100" d="100"/>
        <a:sy n="100" d="100"/>
      </p:scale>
      <p:origin x="0" y="-4752"/>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lie Campbell" userId="S::juliec@audienz.com::df5086f6-13ed-4e69-b43c-17720522b05d" providerId="AD" clId="Web-{171182D8-5E0F-C0C9-A2DC-99E8124F4E5D}"/>
    <pc:docChg chg="modSld">
      <pc:chgData name="Julie Campbell" userId="S::juliec@audienz.com::df5086f6-13ed-4e69-b43c-17720522b05d" providerId="AD" clId="Web-{171182D8-5E0F-C0C9-A2DC-99E8124F4E5D}" dt="2020-07-29T22:46:15.045" v="474" actId="20577"/>
      <pc:docMkLst>
        <pc:docMk/>
      </pc:docMkLst>
      <pc:sldChg chg="modSp">
        <pc:chgData name="Julie Campbell" userId="S::juliec@audienz.com::df5086f6-13ed-4e69-b43c-17720522b05d" providerId="AD" clId="Web-{171182D8-5E0F-C0C9-A2DC-99E8124F4E5D}" dt="2020-07-29T22:45:32.622" v="335" actId="20577"/>
        <pc:sldMkLst>
          <pc:docMk/>
          <pc:sldMk cId="3839829678" sldId="260"/>
        </pc:sldMkLst>
        <pc:spChg chg="mod">
          <ac:chgData name="Julie Campbell" userId="S::juliec@audienz.com::df5086f6-13ed-4e69-b43c-17720522b05d" providerId="AD" clId="Web-{171182D8-5E0F-C0C9-A2DC-99E8124F4E5D}" dt="2020-07-29T22:45:32.529" v="325" actId="20577"/>
          <ac:spMkLst>
            <pc:docMk/>
            <pc:sldMk cId="3839829678" sldId="260"/>
            <ac:spMk id="4" creationId="{DE43F494-B992-40EC-B339-5765DC080332}"/>
          </ac:spMkLst>
        </pc:spChg>
        <pc:spChg chg="mod">
          <ac:chgData name="Julie Campbell" userId="S::juliec@audienz.com::df5086f6-13ed-4e69-b43c-17720522b05d" providerId="AD" clId="Web-{171182D8-5E0F-C0C9-A2DC-99E8124F4E5D}" dt="2020-07-29T22:45:32.622" v="335" actId="20577"/>
          <ac:spMkLst>
            <pc:docMk/>
            <pc:sldMk cId="3839829678" sldId="260"/>
            <ac:spMk id="14" creationId="{CEA7D1E3-9C41-4AF2-9B31-63F1E718196C}"/>
          </ac:spMkLst>
        </pc:spChg>
        <pc:spChg chg="mod">
          <ac:chgData name="Julie Campbell" userId="S::juliec@audienz.com::df5086f6-13ed-4e69-b43c-17720522b05d" providerId="AD" clId="Web-{171182D8-5E0F-C0C9-A2DC-99E8124F4E5D}" dt="2020-07-29T22:45:32.544" v="327" actId="20577"/>
          <ac:spMkLst>
            <pc:docMk/>
            <pc:sldMk cId="3839829678" sldId="260"/>
            <ac:spMk id="16" creationId="{D61618D0-E3DB-470A-B2F9-979CDBFDE2C2}"/>
          </ac:spMkLst>
        </pc:spChg>
        <pc:spChg chg="mod">
          <ac:chgData name="Julie Campbell" userId="S::juliec@audienz.com::df5086f6-13ed-4e69-b43c-17720522b05d" providerId="AD" clId="Web-{171182D8-5E0F-C0C9-A2DC-99E8124F4E5D}" dt="2020-07-29T22:45:32.560" v="328" actId="20577"/>
          <ac:spMkLst>
            <pc:docMk/>
            <pc:sldMk cId="3839829678" sldId="260"/>
            <ac:spMk id="17" creationId="{729634D1-E9F4-4A80-BFB3-C1DDADC46655}"/>
          </ac:spMkLst>
        </pc:spChg>
        <pc:spChg chg="mod">
          <ac:chgData name="Julie Campbell" userId="S::juliec@audienz.com::df5086f6-13ed-4e69-b43c-17720522b05d" providerId="AD" clId="Web-{171182D8-5E0F-C0C9-A2DC-99E8124F4E5D}" dt="2020-07-29T22:45:32.560" v="329" actId="20577"/>
          <ac:spMkLst>
            <pc:docMk/>
            <pc:sldMk cId="3839829678" sldId="260"/>
            <ac:spMk id="20" creationId="{5933BAB3-E5B7-48EA-A767-F05727757C9B}"/>
          </ac:spMkLst>
        </pc:spChg>
        <pc:spChg chg="mod">
          <ac:chgData name="Julie Campbell" userId="S::juliec@audienz.com::df5086f6-13ed-4e69-b43c-17720522b05d" providerId="AD" clId="Web-{171182D8-5E0F-C0C9-A2DC-99E8124F4E5D}" dt="2020-07-29T22:45:32.576" v="331" actId="20577"/>
          <ac:spMkLst>
            <pc:docMk/>
            <pc:sldMk cId="3839829678" sldId="260"/>
            <ac:spMk id="21" creationId="{8532633E-1B07-45C4-89F7-E71980110540}"/>
          </ac:spMkLst>
        </pc:spChg>
        <pc:spChg chg="mod">
          <ac:chgData name="Julie Campbell" userId="S::juliec@audienz.com::df5086f6-13ed-4e69-b43c-17720522b05d" providerId="AD" clId="Web-{171182D8-5E0F-C0C9-A2DC-99E8124F4E5D}" dt="2020-07-29T22:45:32.591" v="332" actId="20577"/>
          <ac:spMkLst>
            <pc:docMk/>
            <pc:sldMk cId="3839829678" sldId="260"/>
            <ac:spMk id="22" creationId="{C6D8BB05-66A2-480B-A5BA-A1C09B194B7D}"/>
          </ac:spMkLst>
        </pc:spChg>
        <pc:spChg chg="mod">
          <ac:chgData name="Julie Campbell" userId="S::juliec@audienz.com::df5086f6-13ed-4e69-b43c-17720522b05d" providerId="AD" clId="Web-{171182D8-5E0F-C0C9-A2DC-99E8124F4E5D}" dt="2020-07-29T22:45:32.591" v="333" actId="20577"/>
          <ac:spMkLst>
            <pc:docMk/>
            <pc:sldMk cId="3839829678" sldId="260"/>
            <ac:spMk id="23" creationId="{C68AFD80-B386-4645-9329-4AFFDC171F0B}"/>
          </ac:spMkLst>
        </pc:spChg>
        <pc:spChg chg="mod">
          <ac:chgData name="Julie Campbell" userId="S::juliec@audienz.com::df5086f6-13ed-4e69-b43c-17720522b05d" providerId="AD" clId="Web-{171182D8-5E0F-C0C9-A2DC-99E8124F4E5D}" dt="2020-07-29T22:45:32.482" v="324" actId="20577"/>
          <ac:spMkLst>
            <pc:docMk/>
            <pc:sldMk cId="3839829678" sldId="260"/>
            <ac:spMk id="28" creationId="{B1AA46E7-6AF9-4FD7-9386-55222FF6ECA5}"/>
          </ac:spMkLst>
        </pc:spChg>
      </pc:sldChg>
      <pc:sldChg chg="modSp">
        <pc:chgData name="Julie Campbell" userId="S::juliec@audienz.com::df5086f6-13ed-4e69-b43c-17720522b05d" providerId="AD" clId="Web-{171182D8-5E0F-C0C9-A2DC-99E8124F4E5D}" dt="2020-07-29T22:45:25.888" v="323" actId="20577"/>
        <pc:sldMkLst>
          <pc:docMk/>
          <pc:sldMk cId="3955326522" sldId="261"/>
        </pc:sldMkLst>
        <pc:spChg chg="mod">
          <ac:chgData name="Julie Campbell" userId="S::juliec@audienz.com::df5086f6-13ed-4e69-b43c-17720522b05d" providerId="AD" clId="Web-{171182D8-5E0F-C0C9-A2DC-99E8124F4E5D}" dt="2020-07-29T22:45:25.826" v="313" actId="20577"/>
          <ac:spMkLst>
            <pc:docMk/>
            <pc:sldMk cId="3955326522" sldId="261"/>
            <ac:spMk id="5" creationId="{00501C87-C616-4408-B5A1-B6CD4FFEB4E0}"/>
          </ac:spMkLst>
        </pc:spChg>
        <pc:spChg chg="mod">
          <ac:chgData name="Julie Campbell" userId="S::juliec@audienz.com::df5086f6-13ed-4e69-b43c-17720522b05d" providerId="AD" clId="Web-{171182D8-5E0F-C0C9-A2DC-99E8124F4E5D}" dt="2020-07-29T22:45:25.888" v="323" actId="20577"/>
          <ac:spMkLst>
            <pc:docMk/>
            <pc:sldMk cId="3955326522" sldId="261"/>
            <ac:spMk id="14" creationId="{F7580F69-A20B-467C-B94C-8274CA4EC9E1}"/>
          </ac:spMkLst>
        </pc:spChg>
        <pc:spChg chg="mod">
          <ac:chgData name="Julie Campbell" userId="S::juliec@audienz.com::df5086f6-13ed-4e69-b43c-17720522b05d" providerId="AD" clId="Web-{171182D8-5E0F-C0C9-A2DC-99E8124F4E5D}" dt="2020-07-29T22:45:25.841" v="315" actId="20577"/>
          <ac:spMkLst>
            <pc:docMk/>
            <pc:sldMk cId="3955326522" sldId="261"/>
            <ac:spMk id="15" creationId="{E984CA53-C118-4EF3-8B90-591D5D6F8413}"/>
          </ac:spMkLst>
        </pc:spChg>
        <pc:spChg chg="mod">
          <ac:chgData name="Julie Campbell" userId="S::juliec@audienz.com::df5086f6-13ed-4e69-b43c-17720522b05d" providerId="AD" clId="Web-{171182D8-5E0F-C0C9-A2DC-99E8124F4E5D}" dt="2020-07-29T22:45:25.841" v="316" actId="20577"/>
          <ac:spMkLst>
            <pc:docMk/>
            <pc:sldMk cId="3955326522" sldId="261"/>
            <ac:spMk id="16" creationId="{9C8CF894-C410-4D89-A830-86786B43A8CE}"/>
          </ac:spMkLst>
        </pc:spChg>
        <pc:spChg chg="mod">
          <ac:chgData name="Julie Campbell" userId="S::juliec@audienz.com::df5086f6-13ed-4e69-b43c-17720522b05d" providerId="AD" clId="Web-{171182D8-5E0F-C0C9-A2DC-99E8124F4E5D}" dt="2020-07-29T22:45:25.857" v="317" actId="20577"/>
          <ac:spMkLst>
            <pc:docMk/>
            <pc:sldMk cId="3955326522" sldId="261"/>
            <ac:spMk id="17" creationId="{FCE0038A-940B-43D6-9E40-FC3D219BC293}"/>
          </ac:spMkLst>
        </pc:spChg>
        <pc:spChg chg="mod">
          <ac:chgData name="Julie Campbell" userId="S::juliec@audienz.com::df5086f6-13ed-4e69-b43c-17720522b05d" providerId="AD" clId="Web-{171182D8-5E0F-C0C9-A2DC-99E8124F4E5D}" dt="2020-07-29T22:45:25.857" v="319" actId="20577"/>
          <ac:spMkLst>
            <pc:docMk/>
            <pc:sldMk cId="3955326522" sldId="261"/>
            <ac:spMk id="20" creationId="{9BB0F357-0695-43EB-94C6-D703C9EFDF84}"/>
          </ac:spMkLst>
        </pc:spChg>
        <pc:spChg chg="mod">
          <ac:chgData name="Julie Campbell" userId="S::juliec@audienz.com::df5086f6-13ed-4e69-b43c-17720522b05d" providerId="AD" clId="Web-{171182D8-5E0F-C0C9-A2DC-99E8124F4E5D}" dt="2020-07-29T22:45:25.857" v="320" actId="20577"/>
          <ac:spMkLst>
            <pc:docMk/>
            <pc:sldMk cId="3955326522" sldId="261"/>
            <ac:spMk id="21" creationId="{A51CF6A8-0531-4D20-A129-BC0F552FEFE7}"/>
          </ac:spMkLst>
        </pc:spChg>
        <pc:spChg chg="mod">
          <ac:chgData name="Julie Campbell" userId="S::juliec@audienz.com::df5086f6-13ed-4e69-b43c-17720522b05d" providerId="AD" clId="Web-{171182D8-5E0F-C0C9-A2DC-99E8124F4E5D}" dt="2020-07-29T22:45:25.872" v="321" actId="20577"/>
          <ac:spMkLst>
            <pc:docMk/>
            <pc:sldMk cId="3955326522" sldId="261"/>
            <ac:spMk id="22" creationId="{D5570CA0-D030-438A-B63F-7FCF9CB9A757}"/>
          </ac:spMkLst>
        </pc:spChg>
        <pc:spChg chg="mod">
          <ac:chgData name="Julie Campbell" userId="S::juliec@audienz.com::df5086f6-13ed-4e69-b43c-17720522b05d" providerId="AD" clId="Web-{171182D8-5E0F-C0C9-A2DC-99E8124F4E5D}" dt="2020-07-29T22:45:25.794" v="312" actId="20577"/>
          <ac:spMkLst>
            <pc:docMk/>
            <pc:sldMk cId="3955326522" sldId="261"/>
            <ac:spMk id="25" creationId="{A9C48E5F-7A1A-4FB5-804A-7A9B4348D5C7}"/>
          </ac:spMkLst>
        </pc:spChg>
      </pc:sldChg>
      <pc:sldChg chg="modSp">
        <pc:chgData name="Julie Campbell" userId="S::juliec@audienz.com::df5086f6-13ed-4e69-b43c-17720522b05d" providerId="AD" clId="Web-{171182D8-5E0F-C0C9-A2DC-99E8124F4E5D}" dt="2020-07-29T22:45:19.122" v="311" actId="20577"/>
        <pc:sldMkLst>
          <pc:docMk/>
          <pc:sldMk cId="3086281997" sldId="262"/>
        </pc:sldMkLst>
        <pc:spChg chg="mod">
          <ac:chgData name="Julie Campbell" userId="S::juliec@audienz.com::df5086f6-13ed-4e69-b43c-17720522b05d" providerId="AD" clId="Web-{171182D8-5E0F-C0C9-A2DC-99E8124F4E5D}" dt="2020-07-29T22:45:19.044" v="301" actId="20577"/>
          <ac:spMkLst>
            <pc:docMk/>
            <pc:sldMk cId="3086281997" sldId="262"/>
            <ac:spMk id="4" creationId="{9FEC5739-455C-4241-A7FB-12E01CC7F336}"/>
          </ac:spMkLst>
        </pc:spChg>
        <pc:spChg chg="mod">
          <ac:chgData name="Julie Campbell" userId="S::juliec@audienz.com::df5086f6-13ed-4e69-b43c-17720522b05d" providerId="AD" clId="Web-{171182D8-5E0F-C0C9-A2DC-99E8124F4E5D}" dt="2020-07-29T22:45:19.122" v="311" actId="20577"/>
          <ac:spMkLst>
            <pc:docMk/>
            <pc:sldMk cId="3086281997" sldId="262"/>
            <ac:spMk id="14" creationId="{D5D72C32-E80B-405E-A940-64ECBE78DE49}"/>
          </ac:spMkLst>
        </pc:spChg>
        <pc:spChg chg="mod">
          <ac:chgData name="Julie Campbell" userId="S::juliec@audienz.com::df5086f6-13ed-4e69-b43c-17720522b05d" providerId="AD" clId="Web-{171182D8-5E0F-C0C9-A2DC-99E8124F4E5D}" dt="2020-07-29T22:45:19.060" v="303" actId="20577"/>
          <ac:spMkLst>
            <pc:docMk/>
            <pc:sldMk cId="3086281997" sldId="262"/>
            <ac:spMk id="16" creationId="{7BFDB75B-7A16-456D-B38F-742F70A361C0}"/>
          </ac:spMkLst>
        </pc:spChg>
        <pc:spChg chg="mod">
          <ac:chgData name="Julie Campbell" userId="S::juliec@audienz.com::df5086f6-13ed-4e69-b43c-17720522b05d" providerId="AD" clId="Web-{171182D8-5E0F-C0C9-A2DC-99E8124F4E5D}" dt="2020-07-29T22:45:19.075" v="304" actId="20577"/>
          <ac:spMkLst>
            <pc:docMk/>
            <pc:sldMk cId="3086281997" sldId="262"/>
            <ac:spMk id="20" creationId="{4CEC69FE-482F-4FD6-8714-66BE462FCE9D}"/>
          </ac:spMkLst>
        </pc:spChg>
        <pc:spChg chg="mod">
          <ac:chgData name="Julie Campbell" userId="S::juliec@audienz.com::df5086f6-13ed-4e69-b43c-17720522b05d" providerId="AD" clId="Web-{171182D8-5E0F-C0C9-A2DC-99E8124F4E5D}" dt="2020-07-29T22:45:19.091" v="305" actId="20577"/>
          <ac:spMkLst>
            <pc:docMk/>
            <pc:sldMk cId="3086281997" sldId="262"/>
            <ac:spMk id="21" creationId="{DF1B6B8A-D58F-41E6-B516-919F097791A2}"/>
          </ac:spMkLst>
        </pc:spChg>
        <pc:spChg chg="mod">
          <ac:chgData name="Julie Campbell" userId="S::juliec@audienz.com::df5086f6-13ed-4e69-b43c-17720522b05d" providerId="AD" clId="Web-{171182D8-5E0F-C0C9-A2DC-99E8124F4E5D}" dt="2020-07-29T22:45:19.091" v="307" actId="20577"/>
          <ac:spMkLst>
            <pc:docMk/>
            <pc:sldMk cId="3086281997" sldId="262"/>
            <ac:spMk id="22" creationId="{B0531225-C0C0-4F8C-B62E-142778C8EC45}"/>
          </ac:spMkLst>
        </pc:spChg>
        <pc:spChg chg="mod">
          <ac:chgData name="Julie Campbell" userId="S::juliec@audienz.com::df5086f6-13ed-4e69-b43c-17720522b05d" providerId="AD" clId="Web-{171182D8-5E0F-C0C9-A2DC-99E8124F4E5D}" dt="2020-07-29T22:45:19.107" v="308" actId="20577"/>
          <ac:spMkLst>
            <pc:docMk/>
            <pc:sldMk cId="3086281997" sldId="262"/>
            <ac:spMk id="23" creationId="{FE2258C7-583B-4322-93DE-B4D27E96A87B}"/>
          </ac:spMkLst>
        </pc:spChg>
        <pc:spChg chg="mod">
          <ac:chgData name="Julie Campbell" userId="S::juliec@audienz.com::df5086f6-13ed-4e69-b43c-17720522b05d" providerId="AD" clId="Web-{171182D8-5E0F-C0C9-A2DC-99E8124F4E5D}" dt="2020-07-29T22:45:19.107" v="309" actId="20577"/>
          <ac:spMkLst>
            <pc:docMk/>
            <pc:sldMk cId="3086281997" sldId="262"/>
            <ac:spMk id="24" creationId="{9E5E8932-92F5-4229-88D0-6C1886F03F5C}"/>
          </ac:spMkLst>
        </pc:spChg>
        <pc:spChg chg="mod">
          <ac:chgData name="Julie Campbell" userId="S::juliec@audienz.com::df5086f6-13ed-4e69-b43c-17720522b05d" providerId="AD" clId="Web-{171182D8-5E0F-C0C9-A2DC-99E8124F4E5D}" dt="2020-07-29T22:45:19.013" v="300" actId="20577"/>
          <ac:spMkLst>
            <pc:docMk/>
            <pc:sldMk cId="3086281997" sldId="262"/>
            <ac:spMk id="26" creationId="{3C0E3327-941E-4AEB-A08E-5C0AF12CADC7}"/>
          </ac:spMkLst>
        </pc:spChg>
      </pc:sldChg>
      <pc:sldChg chg="modSp">
        <pc:chgData name="Julie Campbell" userId="S::juliec@audienz.com::df5086f6-13ed-4e69-b43c-17720522b05d" providerId="AD" clId="Web-{171182D8-5E0F-C0C9-A2DC-99E8124F4E5D}" dt="2020-07-29T22:45:13.935" v="299" actId="20577"/>
        <pc:sldMkLst>
          <pc:docMk/>
          <pc:sldMk cId="2217887558" sldId="263"/>
        </pc:sldMkLst>
        <pc:spChg chg="mod">
          <ac:chgData name="Julie Campbell" userId="S::juliec@audienz.com::df5086f6-13ed-4e69-b43c-17720522b05d" providerId="AD" clId="Web-{171182D8-5E0F-C0C9-A2DC-99E8124F4E5D}" dt="2020-07-29T22:45:13.872" v="290" actId="20577"/>
          <ac:spMkLst>
            <pc:docMk/>
            <pc:sldMk cId="2217887558" sldId="263"/>
            <ac:spMk id="4" creationId="{65E30DB7-8D96-41A7-A39D-587215542D39}"/>
          </ac:spMkLst>
        </pc:spChg>
        <pc:spChg chg="mod">
          <ac:chgData name="Julie Campbell" userId="S::juliec@audienz.com::df5086f6-13ed-4e69-b43c-17720522b05d" providerId="AD" clId="Web-{171182D8-5E0F-C0C9-A2DC-99E8124F4E5D}" dt="2020-07-29T22:45:13.935" v="299" actId="20577"/>
          <ac:spMkLst>
            <pc:docMk/>
            <pc:sldMk cId="2217887558" sldId="263"/>
            <ac:spMk id="14" creationId="{3D6E4D97-5B30-48CD-94A8-C300ECBF2761}"/>
          </ac:spMkLst>
        </pc:spChg>
        <pc:spChg chg="mod">
          <ac:chgData name="Julie Campbell" userId="S::juliec@audienz.com::df5086f6-13ed-4e69-b43c-17720522b05d" providerId="AD" clId="Web-{171182D8-5E0F-C0C9-A2DC-99E8124F4E5D}" dt="2020-07-29T22:45:13.856" v="289" actId="20577"/>
          <ac:spMkLst>
            <pc:docMk/>
            <pc:sldMk cId="2217887558" sldId="263"/>
            <ac:spMk id="19" creationId="{4B3EE417-3892-4D23-96E0-91A7470A7022}"/>
          </ac:spMkLst>
        </pc:spChg>
        <pc:spChg chg="mod">
          <ac:chgData name="Julie Campbell" userId="S::juliec@audienz.com::df5086f6-13ed-4e69-b43c-17720522b05d" providerId="AD" clId="Web-{171182D8-5E0F-C0C9-A2DC-99E8124F4E5D}" dt="2020-07-29T22:45:13.888" v="292" actId="20577"/>
          <ac:spMkLst>
            <pc:docMk/>
            <pc:sldMk cId="2217887558" sldId="263"/>
            <ac:spMk id="21" creationId="{0E48B417-AEAD-4891-B056-0956B866FC47}"/>
          </ac:spMkLst>
        </pc:spChg>
        <pc:spChg chg="mod">
          <ac:chgData name="Julie Campbell" userId="S::juliec@audienz.com::df5086f6-13ed-4e69-b43c-17720522b05d" providerId="AD" clId="Web-{171182D8-5E0F-C0C9-A2DC-99E8124F4E5D}" dt="2020-07-29T22:45:13.888" v="293" actId="20577"/>
          <ac:spMkLst>
            <pc:docMk/>
            <pc:sldMk cId="2217887558" sldId="263"/>
            <ac:spMk id="22" creationId="{F07A9B4C-EC72-4A2F-8431-842B2D191F35}"/>
          </ac:spMkLst>
        </pc:spChg>
        <pc:spChg chg="mod">
          <ac:chgData name="Julie Campbell" userId="S::juliec@audienz.com::df5086f6-13ed-4e69-b43c-17720522b05d" providerId="AD" clId="Web-{171182D8-5E0F-C0C9-A2DC-99E8124F4E5D}" dt="2020-07-29T22:45:13.903" v="295" actId="20577"/>
          <ac:spMkLst>
            <pc:docMk/>
            <pc:sldMk cId="2217887558" sldId="263"/>
            <ac:spMk id="23" creationId="{161A3597-84CA-46B5-B0FB-FB3E4B6E9199}"/>
          </ac:spMkLst>
        </pc:spChg>
        <pc:spChg chg="mod">
          <ac:chgData name="Julie Campbell" userId="S::juliec@audienz.com::df5086f6-13ed-4e69-b43c-17720522b05d" providerId="AD" clId="Web-{171182D8-5E0F-C0C9-A2DC-99E8124F4E5D}" dt="2020-07-29T22:45:13.903" v="296" actId="20577"/>
          <ac:spMkLst>
            <pc:docMk/>
            <pc:sldMk cId="2217887558" sldId="263"/>
            <ac:spMk id="24" creationId="{C7F61473-41B7-4F16-AB84-AF5BFB2BE7CE}"/>
          </ac:spMkLst>
        </pc:spChg>
        <pc:spChg chg="mod">
          <ac:chgData name="Julie Campbell" userId="S::juliec@audienz.com::df5086f6-13ed-4e69-b43c-17720522b05d" providerId="AD" clId="Web-{171182D8-5E0F-C0C9-A2DC-99E8124F4E5D}" dt="2020-07-29T22:45:13.919" v="297" actId="20577"/>
          <ac:spMkLst>
            <pc:docMk/>
            <pc:sldMk cId="2217887558" sldId="263"/>
            <ac:spMk id="25" creationId="{0795FE3C-E06C-4795-9215-79B2F5E37F24}"/>
          </ac:spMkLst>
        </pc:spChg>
        <pc:spChg chg="mod">
          <ac:chgData name="Julie Campbell" userId="S::juliec@audienz.com::df5086f6-13ed-4e69-b43c-17720522b05d" providerId="AD" clId="Web-{171182D8-5E0F-C0C9-A2DC-99E8124F4E5D}" dt="2020-07-29T22:45:13.825" v="288" actId="20577"/>
          <ac:spMkLst>
            <pc:docMk/>
            <pc:sldMk cId="2217887558" sldId="263"/>
            <ac:spMk id="28" creationId="{E0E8A4FC-4122-4116-84B6-366CB2787A55}"/>
          </ac:spMkLst>
        </pc:spChg>
      </pc:sldChg>
      <pc:sldChg chg="modSp">
        <pc:chgData name="Julie Campbell" userId="S::juliec@audienz.com::df5086f6-13ed-4e69-b43c-17720522b05d" providerId="AD" clId="Web-{171182D8-5E0F-C0C9-A2DC-99E8124F4E5D}" dt="2020-07-29T22:45:08.184" v="286" actId="20577"/>
        <pc:sldMkLst>
          <pc:docMk/>
          <pc:sldMk cId="629473396" sldId="264"/>
        </pc:sldMkLst>
        <pc:spChg chg="mod">
          <ac:chgData name="Julie Campbell" userId="S::juliec@audienz.com::df5086f6-13ed-4e69-b43c-17720522b05d" providerId="AD" clId="Web-{171182D8-5E0F-C0C9-A2DC-99E8124F4E5D}" dt="2020-07-29T22:45:08.091" v="275" actId="20577"/>
          <ac:spMkLst>
            <pc:docMk/>
            <pc:sldMk cId="629473396" sldId="264"/>
            <ac:spMk id="4" creationId="{096DA288-A091-49BE-B425-979E77AF9394}"/>
          </ac:spMkLst>
        </pc:spChg>
        <pc:spChg chg="mod">
          <ac:chgData name="Julie Campbell" userId="S::juliec@audienz.com::df5086f6-13ed-4e69-b43c-17720522b05d" providerId="AD" clId="Web-{171182D8-5E0F-C0C9-A2DC-99E8124F4E5D}" dt="2020-07-29T22:45:08.091" v="277" actId="20577"/>
          <ac:spMkLst>
            <pc:docMk/>
            <pc:sldMk cId="629473396" sldId="264"/>
            <ac:spMk id="9" creationId="{BE109622-1A85-40B8-9E3B-AB4D412D2037}"/>
          </ac:spMkLst>
        </pc:spChg>
        <pc:spChg chg="mod">
          <ac:chgData name="Julie Campbell" userId="S::juliec@audienz.com::df5086f6-13ed-4e69-b43c-17720522b05d" providerId="AD" clId="Web-{171182D8-5E0F-C0C9-A2DC-99E8124F4E5D}" dt="2020-07-29T22:45:08.184" v="286" actId="20577"/>
          <ac:spMkLst>
            <pc:docMk/>
            <pc:sldMk cId="629473396" sldId="264"/>
            <ac:spMk id="13" creationId="{F2C3E864-018A-4C65-9C89-B7B292D1A359}"/>
          </ac:spMkLst>
        </pc:spChg>
        <pc:spChg chg="mod">
          <ac:chgData name="Julie Campbell" userId="S::juliec@audienz.com::df5086f6-13ed-4e69-b43c-17720522b05d" providerId="AD" clId="Web-{171182D8-5E0F-C0C9-A2DC-99E8124F4E5D}" dt="2020-07-29T22:45:08.138" v="278" actId="20577"/>
          <ac:spMkLst>
            <pc:docMk/>
            <pc:sldMk cId="629473396" sldId="264"/>
            <ac:spMk id="14" creationId="{9B520105-02F2-46FB-8D46-63D2AD58B99A}"/>
          </ac:spMkLst>
        </pc:spChg>
        <pc:spChg chg="mod">
          <ac:chgData name="Julie Campbell" userId="S::juliec@audienz.com::df5086f6-13ed-4e69-b43c-17720522b05d" providerId="AD" clId="Web-{171182D8-5E0F-C0C9-A2DC-99E8124F4E5D}" dt="2020-07-29T22:45:08.138" v="279" actId="20577"/>
          <ac:spMkLst>
            <pc:docMk/>
            <pc:sldMk cId="629473396" sldId="264"/>
            <ac:spMk id="19" creationId="{DC294C32-0EEE-4BFF-A8B7-B92F73F3D59C}"/>
          </ac:spMkLst>
        </pc:spChg>
        <pc:spChg chg="mod">
          <ac:chgData name="Julie Campbell" userId="S::juliec@audienz.com::df5086f6-13ed-4e69-b43c-17720522b05d" providerId="AD" clId="Web-{171182D8-5E0F-C0C9-A2DC-99E8124F4E5D}" dt="2020-07-29T22:45:08.153" v="280" actId="20577"/>
          <ac:spMkLst>
            <pc:docMk/>
            <pc:sldMk cId="629473396" sldId="264"/>
            <ac:spMk id="21" creationId="{3D72862E-ED5E-48A6-8FF5-49542086D464}"/>
          </ac:spMkLst>
        </pc:spChg>
        <pc:spChg chg="mod">
          <ac:chgData name="Julie Campbell" userId="S::juliec@audienz.com::df5086f6-13ed-4e69-b43c-17720522b05d" providerId="AD" clId="Web-{171182D8-5E0F-C0C9-A2DC-99E8124F4E5D}" dt="2020-07-29T22:45:08.153" v="282" actId="20577"/>
          <ac:spMkLst>
            <pc:docMk/>
            <pc:sldMk cId="629473396" sldId="264"/>
            <ac:spMk id="22" creationId="{DE7E8FF8-E28B-4A02-95B5-2D34BE4A98A9}"/>
          </ac:spMkLst>
        </pc:spChg>
        <pc:spChg chg="mod">
          <ac:chgData name="Julie Campbell" userId="S::juliec@audienz.com::df5086f6-13ed-4e69-b43c-17720522b05d" providerId="AD" clId="Web-{171182D8-5E0F-C0C9-A2DC-99E8124F4E5D}" dt="2020-07-29T22:45:08.169" v="283" actId="20577"/>
          <ac:spMkLst>
            <pc:docMk/>
            <pc:sldMk cId="629473396" sldId="264"/>
            <ac:spMk id="23" creationId="{855C3D08-1E9D-4C1C-922B-3488C33A8DD1}"/>
          </ac:spMkLst>
        </pc:spChg>
        <pc:spChg chg="mod">
          <ac:chgData name="Julie Campbell" userId="S::juliec@audienz.com::df5086f6-13ed-4e69-b43c-17720522b05d" providerId="AD" clId="Web-{171182D8-5E0F-C0C9-A2DC-99E8124F4E5D}" dt="2020-07-29T22:45:08.169" v="284" actId="20577"/>
          <ac:spMkLst>
            <pc:docMk/>
            <pc:sldMk cId="629473396" sldId="264"/>
            <ac:spMk id="24" creationId="{47649827-67D2-41AA-9F83-1EFC76B3C612}"/>
          </ac:spMkLst>
        </pc:spChg>
      </pc:sldChg>
      <pc:sldChg chg="modSp">
        <pc:chgData name="Julie Campbell" userId="S::juliec@audienz.com::df5086f6-13ed-4e69-b43c-17720522b05d" providerId="AD" clId="Web-{171182D8-5E0F-C0C9-A2DC-99E8124F4E5D}" dt="2020-07-29T22:41:31.305" v="164" actId="20577"/>
        <pc:sldMkLst>
          <pc:docMk/>
          <pc:sldMk cId="4067885522" sldId="270"/>
        </pc:sldMkLst>
        <pc:spChg chg="mod">
          <ac:chgData name="Julie Campbell" userId="S::juliec@audienz.com::df5086f6-13ed-4e69-b43c-17720522b05d" providerId="AD" clId="Web-{171182D8-5E0F-C0C9-A2DC-99E8124F4E5D}" dt="2020-07-29T22:39:46.755" v="8" actId="20577"/>
          <ac:spMkLst>
            <pc:docMk/>
            <pc:sldMk cId="4067885522" sldId="270"/>
            <ac:spMk id="4" creationId="{693DCB59-2692-422D-96FB-A09F0F4055A7}"/>
          </ac:spMkLst>
        </pc:spChg>
        <pc:spChg chg="mod">
          <ac:chgData name="Julie Campbell" userId="S::juliec@audienz.com::df5086f6-13ed-4e69-b43c-17720522b05d" providerId="AD" clId="Web-{171182D8-5E0F-C0C9-A2DC-99E8124F4E5D}" dt="2020-07-29T22:39:46.771" v="9" actId="20577"/>
          <ac:spMkLst>
            <pc:docMk/>
            <pc:sldMk cId="4067885522" sldId="270"/>
            <ac:spMk id="5" creationId="{AAA034EC-478D-407C-A6FD-02547CDB2045}"/>
          </ac:spMkLst>
        </pc:spChg>
        <pc:spChg chg="mod">
          <ac:chgData name="Julie Campbell" userId="S::juliec@audienz.com::df5086f6-13ed-4e69-b43c-17720522b05d" providerId="AD" clId="Web-{171182D8-5E0F-C0C9-A2DC-99E8124F4E5D}" dt="2020-07-29T22:39:47.005" v="17" actId="20577"/>
          <ac:spMkLst>
            <pc:docMk/>
            <pc:sldMk cId="4067885522" sldId="270"/>
            <ac:spMk id="7" creationId="{B1B20118-8954-4A91-AB54-6CF3BF90613A}"/>
          </ac:spMkLst>
        </pc:spChg>
        <pc:spChg chg="mod">
          <ac:chgData name="Julie Campbell" userId="S::juliec@audienz.com::df5086f6-13ed-4e69-b43c-17720522b05d" providerId="AD" clId="Web-{171182D8-5E0F-C0C9-A2DC-99E8124F4E5D}" dt="2020-07-29T22:41:31.305" v="164" actId="20577"/>
          <ac:spMkLst>
            <pc:docMk/>
            <pc:sldMk cId="4067885522" sldId="270"/>
            <ac:spMk id="39" creationId="{6CD35FB6-8EE6-4C71-9241-013DD689E049}"/>
          </ac:spMkLst>
        </pc:spChg>
        <pc:spChg chg="mod">
          <ac:chgData name="Julie Campbell" userId="S::juliec@audienz.com::df5086f6-13ed-4e69-b43c-17720522b05d" providerId="AD" clId="Web-{171182D8-5E0F-C0C9-A2DC-99E8124F4E5D}" dt="2020-07-29T22:39:46.818" v="10" actId="20577"/>
          <ac:spMkLst>
            <pc:docMk/>
            <pc:sldMk cId="4067885522" sldId="270"/>
            <ac:spMk id="180" creationId="{7347394E-D254-4F5F-987A-8BD409B7F078}"/>
          </ac:spMkLst>
        </pc:spChg>
        <pc:spChg chg="mod">
          <ac:chgData name="Julie Campbell" userId="S::juliec@audienz.com::df5086f6-13ed-4e69-b43c-17720522b05d" providerId="AD" clId="Web-{171182D8-5E0F-C0C9-A2DC-99E8124F4E5D}" dt="2020-07-29T22:39:46.865" v="11" actId="20577"/>
          <ac:spMkLst>
            <pc:docMk/>
            <pc:sldMk cId="4067885522" sldId="270"/>
            <ac:spMk id="181" creationId="{10F3862A-7307-4AFF-9F8B-B99DFF748114}"/>
          </ac:spMkLst>
        </pc:spChg>
        <pc:spChg chg="mod">
          <ac:chgData name="Julie Campbell" userId="S::juliec@audienz.com::df5086f6-13ed-4e69-b43c-17720522b05d" providerId="AD" clId="Web-{171182D8-5E0F-C0C9-A2DC-99E8124F4E5D}" dt="2020-07-29T22:39:46.912" v="12" actId="20577"/>
          <ac:spMkLst>
            <pc:docMk/>
            <pc:sldMk cId="4067885522" sldId="270"/>
            <ac:spMk id="183" creationId="{E0865D81-324E-46FF-AC22-AC0EDB9B7F27}"/>
          </ac:spMkLst>
        </pc:spChg>
        <pc:spChg chg="mod">
          <ac:chgData name="Julie Campbell" userId="S::juliec@audienz.com::df5086f6-13ed-4e69-b43c-17720522b05d" providerId="AD" clId="Web-{171182D8-5E0F-C0C9-A2DC-99E8124F4E5D}" dt="2020-07-29T22:39:46.927" v="13" actId="20577"/>
          <ac:spMkLst>
            <pc:docMk/>
            <pc:sldMk cId="4067885522" sldId="270"/>
            <ac:spMk id="185" creationId="{B92A9C3A-13D0-443B-92BB-61B8947CA0DE}"/>
          </ac:spMkLst>
        </pc:spChg>
        <pc:spChg chg="mod">
          <ac:chgData name="Julie Campbell" userId="S::juliec@audienz.com::df5086f6-13ed-4e69-b43c-17720522b05d" providerId="AD" clId="Web-{171182D8-5E0F-C0C9-A2DC-99E8124F4E5D}" dt="2020-07-29T22:39:46.959" v="15" actId="20577"/>
          <ac:spMkLst>
            <pc:docMk/>
            <pc:sldMk cId="4067885522" sldId="270"/>
            <ac:spMk id="186" creationId="{3A9F9569-0C3D-4192-8435-A07AC801AD5C}"/>
          </ac:spMkLst>
        </pc:spChg>
        <pc:spChg chg="mod">
          <ac:chgData name="Julie Campbell" userId="S::juliec@audienz.com::df5086f6-13ed-4e69-b43c-17720522b05d" providerId="AD" clId="Web-{171182D8-5E0F-C0C9-A2DC-99E8124F4E5D}" dt="2020-07-29T22:39:47.021" v="19" actId="20577"/>
          <ac:spMkLst>
            <pc:docMk/>
            <pc:sldMk cId="4067885522" sldId="270"/>
            <ac:spMk id="187" creationId="{0770263B-2567-413C-8E47-65D31804A627}"/>
          </ac:spMkLst>
        </pc:spChg>
        <pc:spChg chg="mod">
          <ac:chgData name="Julie Campbell" userId="S::juliec@audienz.com::df5086f6-13ed-4e69-b43c-17720522b05d" providerId="AD" clId="Web-{171182D8-5E0F-C0C9-A2DC-99E8124F4E5D}" dt="2020-07-29T22:39:47.052" v="21" actId="20577"/>
          <ac:spMkLst>
            <pc:docMk/>
            <pc:sldMk cId="4067885522" sldId="270"/>
            <ac:spMk id="188" creationId="{6560402E-030A-485A-91FB-D2FB5C9F6041}"/>
          </ac:spMkLst>
        </pc:spChg>
        <pc:spChg chg="mod">
          <ac:chgData name="Julie Campbell" userId="S::juliec@audienz.com::df5086f6-13ed-4e69-b43c-17720522b05d" providerId="AD" clId="Web-{171182D8-5E0F-C0C9-A2DC-99E8124F4E5D}" dt="2020-07-29T22:40:08.334" v="121" actId="20577"/>
          <ac:spMkLst>
            <pc:docMk/>
            <pc:sldMk cId="4067885522" sldId="270"/>
            <ac:spMk id="385" creationId="{8971EC12-32D1-425D-8112-049AAD19C7C6}"/>
          </ac:spMkLst>
        </pc:spChg>
        <pc:spChg chg="mod">
          <ac:chgData name="Julie Campbell" userId="S::juliec@audienz.com::df5086f6-13ed-4e69-b43c-17720522b05d" providerId="AD" clId="Web-{171182D8-5E0F-C0C9-A2DC-99E8124F4E5D}" dt="2020-07-29T22:40:08.522" v="122" actId="20577"/>
          <ac:spMkLst>
            <pc:docMk/>
            <pc:sldMk cId="4067885522" sldId="270"/>
            <ac:spMk id="386" creationId="{1CBD5922-3431-4786-B0DD-49585DCD4F21}"/>
          </ac:spMkLst>
        </pc:spChg>
        <pc:spChg chg="mod">
          <ac:chgData name="Julie Campbell" userId="S::juliec@audienz.com::df5086f6-13ed-4e69-b43c-17720522b05d" providerId="AD" clId="Web-{171182D8-5E0F-C0C9-A2DC-99E8124F4E5D}" dt="2020-07-29T22:40:08.725" v="123" actId="20577"/>
          <ac:spMkLst>
            <pc:docMk/>
            <pc:sldMk cId="4067885522" sldId="270"/>
            <ac:spMk id="387" creationId="{0C82ADE4-4F31-4389-8030-1BF3AF72A2C0}"/>
          </ac:spMkLst>
        </pc:spChg>
        <pc:spChg chg="mod">
          <ac:chgData name="Julie Campbell" userId="S::juliec@audienz.com::df5086f6-13ed-4e69-b43c-17720522b05d" providerId="AD" clId="Web-{171182D8-5E0F-C0C9-A2DC-99E8124F4E5D}" dt="2020-07-29T22:40:08.928" v="124" actId="20577"/>
          <ac:spMkLst>
            <pc:docMk/>
            <pc:sldMk cId="4067885522" sldId="270"/>
            <ac:spMk id="388" creationId="{A2160B17-ECF6-4715-B9B0-6ABCA26B9B3A}"/>
          </ac:spMkLst>
        </pc:spChg>
        <pc:spChg chg="mod">
          <ac:chgData name="Julie Campbell" userId="S::juliec@audienz.com::df5086f6-13ed-4e69-b43c-17720522b05d" providerId="AD" clId="Web-{171182D8-5E0F-C0C9-A2DC-99E8124F4E5D}" dt="2020-07-29T22:40:09.147" v="125" actId="20577"/>
          <ac:spMkLst>
            <pc:docMk/>
            <pc:sldMk cId="4067885522" sldId="270"/>
            <ac:spMk id="389" creationId="{37A150BD-3073-454D-863D-253AEEA0618A}"/>
          </ac:spMkLst>
        </pc:spChg>
        <pc:spChg chg="mod">
          <ac:chgData name="Julie Campbell" userId="S::juliec@audienz.com::df5086f6-13ed-4e69-b43c-17720522b05d" providerId="AD" clId="Web-{171182D8-5E0F-C0C9-A2DC-99E8124F4E5D}" dt="2020-07-29T22:40:09.365" v="126" actId="20577"/>
          <ac:spMkLst>
            <pc:docMk/>
            <pc:sldMk cId="4067885522" sldId="270"/>
            <ac:spMk id="390" creationId="{C0A0D7F2-2C3C-4776-876C-14344082782E}"/>
          </ac:spMkLst>
        </pc:spChg>
        <pc:spChg chg="mod">
          <ac:chgData name="Julie Campbell" userId="S::juliec@audienz.com::df5086f6-13ed-4e69-b43c-17720522b05d" providerId="AD" clId="Web-{171182D8-5E0F-C0C9-A2DC-99E8124F4E5D}" dt="2020-07-29T22:40:09.584" v="127" actId="20577"/>
          <ac:spMkLst>
            <pc:docMk/>
            <pc:sldMk cId="4067885522" sldId="270"/>
            <ac:spMk id="391" creationId="{471992E3-E8EF-49FE-B787-6F97C46EE9DC}"/>
          </ac:spMkLst>
        </pc:spChg>
        <pc:spChg chg="mod">
          <ac:chgData name="Julie Campbell" userId="S::juliec@audienz.com::df5086f6-13ed-4e69-b43c-17720522b05d" providerId="AD" clId="Web-{171182D8-5E0F-C0C9-A2DC-99E8124F4E5D}" dt="2020-07-29T22:40:06.787" v="114" actId="20577"/>
          <ac:spMkLst>
            <pc:docMk/>
            <pc:sldMk cId="4067885522" sldId="270"/>
            <ac:spMk id="392" creationId="{F613C226-9AD2-4C98-8E48-8CE14CC60EB9}"/>
          </ac:spMkLst>
        </pc:spChg>
        <pc:spChg chg="mod">
          <ac:chgData name="Julie Campbell" userId="S::juliec@audienz.com::df5086f6-13ed-4e69-b43c-17720522b05d" providerId="AD" clId="Web-{171182D8-5E0F-C0C9-A2DC-99E8124F4E5D}" dt="2020-07-29T22:40:07.006" v="115" actId="20577"/>
          <ac:spMkLst>
            <pc:docMk/>
            <pc:sldMk cId="4067885522" sldId="270"/>
            <ac:spMk id="393" creationId="{FF8D4A70-AB45-4401-AD50-F528BAE43356}"/>
          </ac:spMkLst>
        </pc:spChg>
        <pc:spChg chg="mod">
          <ac:chgData name="Julie Campbell" userId="S::juliec@audienz.com::df5086f6-13ed-4e69-b43c-17720522b05d" providerId="AD" clId="Web-{171182D8-5E0F-C0C9-A2DC-99E8124F4E5D}" dt="2020-07-29T22:40:07.225" v="116" actId="20577"/>
          <ac:spMkLst>
            <pc:docMk/>
            <pc:sldMk cId="4067885522" sldId="270"/>
            <ac:spMk id="394" creationId="{5087A696-941F-4C3D-995B-6930CE273BEB}"/>
          </ac:spMkLst>
        </pc:spChg>
        <pc:spChg chg="mod">
          <ac:chgData name="Julie Campbell" userId="S::juliec@audienz.com::df5086f6-13ed-4e69-b43c-17720522b05d" providerId="AD" clId="Web-{171182D8-5E0F-C0C9-A2DC-99E8124F4E5D}" dt="2020-07-29T22:40:07.443" v="117" actId="20577"/>
          <ac:spMkLst>
            <pc:docMk/>
            <pc:sldMk cId="4067885522" sldId="270"/>
            <ac:spMk id="395" creationId="{7BB7376A-67E3-463F-AD0D-A2E15261B090}"/>
          </ac:spMkLst>
        </pc:spChg>
        <pc:spChg chg="mod">
          <ac:chgData name="Julie Campbell" userId="S::juliec@audienz.com::df5086f6-13ed-4e69-b43c-17720522b05d" providerId="AD" clId="Web-{171182D8-5E0F-C0C9-A2DC-99E8124F4E5D}" dt="2020-07-29T22:40:07.662" v="118" actId="20577"/>
          <ac:spMkLst>
            <pc:docMk/>
            <pc:sldMk cId="4067885522" sldId="270"/>
            <ac:spMk id="396" creationId="{5568A155-9DD8-40BD-8F57-994DDF63CCD6}"/>
          </ac:spMkLst>
        </pc:spChg>
        <pc:spChg chg="mod">
          <ac:chgData name="Julie Campbell" userId="S::juliec@audienz.com::df5086f6-13ed-4e69-b43c-17720522b05d" providerId="AD" clId="Web-{171182D8-5E0F-C0C9-A2DC-99E8124F4E5D}" dt="2020-07-29T22:40:07.928" v="119" actId="20577"/>
          <ac:spMkLst>
            <pc:docMk/>
            <pc:sldMk cId="4067885522" sldId="270"/>
            <ac:spMk id="397" creationId="{DB49CB0C-C167-479A-BA54-AB279E401E0A}"/>
          </ac:spMkLst>
        </pc:spChg>
        <pc:spChg chg="mod">
          <ac:chgData name="Julie Campbell" userId="S::juliec@audienz.com::df5086f6-13ed-4e69-b43c-17720522b05d" providerId="AD" clId="Web-{171182D8-5E0F-C0C9-A2DC-99E8124F4E5D}" dt="2020-07-29T22:40:08.147" v="120" actId="20577"/>
          <ac:spMkLst>
            <pc:docMk/>
            <pc:sldMk cId="4067885522" sldId="270"/>
            <ac:spMk id="398" creationId="{9262E720-13BF-40B6-B89C-690AB7CE8C8B}"/>
          </ac:spMkLst>
        </pc:spChg>
        <pc:spChg chg="mod">
          <ac:chgData name="Julie Campbell" userId="S::juliec@audienz.com::df5086f6-13ed-4e69-b43c-17720522b05d" providerId="AD" clId="Web-{171182D8-5E0F-C0C9-A2DC-99E8124F4E5D}" dt="2020-07-29T22:40:05.318" v="107" actId="20577"/>
          <ac:spMkLst>
            <pc:docMk/>
            <pc:sldMk cId="4067885522" sldId="270"/>
            <ac:spMk id="399" creationId="{B7D8D1E4-AE50-4644-9768-EDB764A9B75B}"/>
          </ac:spMkLst>
        </pc:spChg>
        <pc:spChg chg="mod">
          <ac:chgData name="Julie Campbell" userId="S::juliec@audienz.com::df5086f6-13ed-4e69-b43c-17720522b05d" providerId="AD" clId="Web-{171182D8-5E0F-C0C9-A2DC-99E8124F4E5D}" dt="2020-07-29T22:40:05.537" v="108" actId="20577"/>
          <ac:spMkLst>
            <pc:docMk/>
            <pc:sldMk cId="4067885522" sldId="270"/>
            <ac:spMk id="400" creationId="{E4D41F26-BD79-4642-B8DA-C7F83F1DDC6F}"/>
          </ac:spMkLst>
        </pc:spChg>
        <pc:spChg chg="mod">
          <ac:chgData name="Julie Campbell" userId="S::juliec@audienz.com::df5086f6-13ed-4e69-b43c-17720522b05d" providerId="AD" clId="Web-{171182D8-5E0F-C0C9-A2DC-99E8124F4E5D}" dt="2020-07-29T22:40:05.740" v="109" actId="20577"/>
          <ac:spMkLst>
            <pc:docMk/>
            <pc:sldMk cId="4067885522" sldId="270"/>
            <ac:spMk id="401" creationId="{1740FF43-85F1-4589-A073-5DDD26CF17AF}"/>
          </ac:spMkLst>
        </pc:spChg>
        <pc:spChg chg="mod">
          <ac:chgData name="Julie Campbell" userId="S::juliec@audienz.com::df5086f6-13ed-4e69-b43c-17720522b05d" providerId="AD" clId="Web-{171182D8-5E0F-C0C9-A2DC-99E8124F4E5D}" dt="2020-07-29T22:40:05.959" v="110" actId="20577"/>
          <ac:spMkLst>
            <pc:docMk/>
            <pc:sldMk cId="4067885522" sldId="270"/>
            <ac:spMk id="402" creationId="{A9F8A9C7-1737-4277-8DAD-753D05C140B0}"/>
          </ac:spMkLst>
        </pc:spChg>
        <pc:spChg chg="mod">
          <ac:chgData name="Julie Campbell" userId="S::juliec@audienz.com::df5086f6-13ed-4e69-b43c-17720522b05d" providerId="AD" clId="Web-{171182D8-5E0F-C0C9-A2DC-99E8124F4E5D}" dt="2020-07-29T22:40:06.178" v="111" actId="20577"/>
          <ac:spMkLst>
            <pc:docMk/>
            <pc:sldMk cId="4067885522" sldId="270"/>
            <ac:spMk id="403" creationId="{82E9C625-0A56-4F5D-989E-1EA2BEB4D85D}"/>
          </ac:spMkLst>
        </pc:spChg>
        <pc:spChg chg="mod">
          <ac:chgData name="Julie Campbell" userId="S::juliec@audienz.com::df5086f6-13ed-4e69-b43c-17720522b05d" providerId="AD" clId="Web-{171182D8-5E0F-C0C9-A2DC-99E8124F4E5D}" dt="2020-07-29T22:40:06.365" v="112" actId="20577"/>
          <ac:spMkLst>
            <pc:docMk/>
            <pc:sldMk cId="4067885522" sldId="270"/>
            <ac:spMk id="404" creationId="{E5CDAB17-0CA4-4971-81D5-7818DC307E09}"/>
          </ac:spMkLst>
        </pc:spChg>
        <pc:spChg chg="mod">
          <ac:chgData name="Julie Campbell" userId="S::juliec@audienz.com::df5086f6-13ed-4e69-b43c-17720522b05d" providerId="AD" clId="Web-{171182D8-5E0F-C0C9-A2DC-99E8124F4E5D}" dt="2020-07-29T22:40:06.568" v="113" actId="20577"/>
          <ac:spMkLst>
            <pc:docMk/>
            <pc:sldMk cId="4067885522" sldId="270"/>
            <ac:spMk id="405" creationId="{1E276D51-E7E7-46E4-BA69-4FE14EB26538}"/>
          </ac:spMkLst>
        </pc:spChg>
        <pc:spChg chg="mod">
          <ac:chgData name="Julie Campbell" userId="S::juliec@audienz.com::df5086f6-13ed-4e69-b43c-17720522b05d" providerId="AD" clId="Web-{171182D8-5E0F-C0C9-A2DC-99E8124F4E5D}" dt="2020-07-29T22:40:03.725" v="100" actId="20577"/>
          <ac:spMkLst>
            <pc:docMk/>
            <pc:sldMk cId="4067885522" sldId="270"/>
            <ac:spMk id="406" creationId="{271D3E1B-629C-4597-9471-108817B4440D}"/>
          </ac:spMkLst>
        </pc:spChg>
        <pc:spChg chg="mod">
          <ac:chgData name="Julie Campbell" userId="S::juliec@audienz.com::df5086f6-13ed-4e69-b43c-17720522b05d" providerId="AD" clId="Web-{171182D8-5E0F-C0C9-A2DC-99E8124F4E5D}" dt="2020-07-29T22:40:03.943" v="101" actId="20577"/>
          <ac:spMkLst>
            <pc:docMk/>
            <pc:sldMk cId="4067885522" sldId="270"/>
            <ac:spMk id="407" creationId="{A61CBC2A-AD29-4DBA-BAA5-F174E2B8E7F6}"/>
          </ac:spMkLst>
        </pc:spChg>
        <pc:spChg chg="mod">
          <ac:chgData name="Julie Campbell" userId="S::juliec@audienz.com::df5086f6-13ed-4e69-b43c-17720522b05d" providerId="AD" clId="Web-{171182D8-5E0F-C0C9-A2DC-99E8124F4E5D}" dt="2020-07-29T22:40:04.131" v="102" actId="20577"/>
          <ac:spMkLst>
            <pc:docMk/>
            <pc:sldMk cId="4067885522" sldId="270"/>
            <ac:spMk id="408" creationId="{BCB51212-38B4-4E7C-A258-5562578E04A3}"/>
          </ac:spMkLst>
        </pc:spChg>
        <pc:spChg chg="mod">
          <ac:chgData name="Julie Campbell" userId="S::juliec@audienz.com::df5086f6-13ed-4e69-b43c-17720522b05d" providerId="AD" clId="Web-{171182D8-5E0F-C0C9-A2DC-99E8124F4E5D}" dt="2020-07-29T22:40:04.412" v="103" actId="20577"/>
          <ac:spMkLst>
            <pc:docMk/>
            <pc:sldMk cId="4067885522" sldId="270"/>
            <ac:spMk id="409" creationId="{6C34E717-75E5-4FE5-A435-EE7D5FA0BFEB}"/>
          </ac:spMkLst>
        </pc:spChg>
        <pc:spChg chg="mod">
          <ac:chgData name="Julie Campbell" userId="S::juliec@audienz.com::df5086f6-13ed-4e69-b43c-17720522b05d" providerId="AD" clId="Web-{171182D8-5E0F-C0C9-A2DC-99E8124F4E5D}" dt="2020-07-29T22:40:04.662" v="104" actId="20577"/>
          <ac:spMkLst>
            <pc:docMk/>
            <pc:sldMk cId="4067885522" sldId="270"/>
            <ac:spMk id="410" creationId="{7D57F2A1-31E7-49C3-925B-833C274877C6}"/>
          </ac:spMkLst>
        </pc:spChg>
        <pc:spChg chg="mod">
          <ac:chgData name="Julie Campbell" userId="S::juliec@audienz.com::df5086f6-13ed-4e69-b43c-17720522b05d" providerId="AD" clId="Web-{171182D8-5E0F-C0C9-A2DC-99E8124F4E5D}" dt="2020-07-29T22:40:04.881" v="105" actId="20577"/>
          <ac:spMkLst>
            <pc:docMk/>
            <pc:sldMk cId="4067885522" sldId="270"/>
            <ac:spMk id="411" creationId="{8F72CB28-5584-4B54-8CB5-056ED76BD852}"/>
          </ac:spMkLst>
        </pc:spChg>
        <pc:spChg chg="mod">
          <ac:chgData name="Julie Campbell" userId="S::juliec@audienz.com::df5086f6-13ed-4e69-b43c-17720522b05d" providerId="AD" clId="Web-{171182D8-5E0F-C0C9-A2DC-99E8124F4E5D}" dt="2020-07-29T22:40:05.100" v="106" actId="20577"/>
          <ac:spMkLst>
            <pc:docMk/>
            <pc:sldMk cId="4067885522" sldId="270"/>
            <ac:spMk id="412" creationId="{1C280663-213D-4C4C-A2D7-453C3171DA06}"/>
          </ac:spMkLst>
        </pc:spChg>
        <pc:spChg chg="mod">
          <ac:chgData name="Julie Campbell" userId="S::juliec@audienz.com::df5086f6-13ed-4e69-b43c-17720522b05d" providerId="AD" clId="Web-{171182D8-5E0F-C0C9-A2DC-99E8124F4E5D}" dt="2020-07-29T22:40:02.287" v="93" actId="20577"/>
          <ac:spMkLst>
            <pc:docMk/>
            <pc:sldMk cId="4067885522" sldId="270"/>
            <ac:spMk id="413" creationId="{E3A4D99B-C0B1-4260-8762-BEB15E02AA5D}"/>
          </ac:spMkLst>
        </pc:spChg>
        <pc:spChg chg="mod">
          <ac:chgData name="Julie Campbell" userId="S::juliec@audienz.com::df5086f6-13ed-4e69-b43c-17720522b05d" providerId="AD" clId="Web-{171182D8-5E0F-C0C9-A2DC-99E8124F4E5D}" dt="2020-07-29T22:40:02.506" v="94" actId="20577"/>
          <ac:spMkLst>
            <pc:docMk/>
            <pc:sldMk cId="4067885522" sldId="270"/>
            <ac:spMk id="414" creationId="{7E711F0C-9FCA-4089-9AE0-32740244410D}"/>
          </ac:spMkLst>
        </pc:spChg>
        <pc:spChg chg="mod">
          <ac:chgData name="Julie Campbell" userId="S::juliec@audienz.com::df5086f6-13ed-4e69-b43c-17720522b05d" providerId="AD" clId="Web-{171182D8-5E0F-C0C9-A2DC-99E8124F4E5D}" dt="2020-07-29T22:40:02.725" v="95" actId="20577"/>
          <ac:spMkLst>
            <pc:docMk/>
            <pc:sldMk cId="4067885522" sldId="270"/>
            <ac:spMk id="415" creationId="{6FE0B982-0376-423D-B847-56A48DD100EE}"/>
          </ac:spMkLst>
        </pc:spChg>
        <pc:spChg chg="mod">
          <ac:chgData name="Julie Campbell" userId="S::juliec@audienz.com::df5086f6-13ed-4e69-b43c-17720522b05d" providerId="AD" clId="Web-{171182D8-5E0F-C0C9-A2DC-99E8124F4E5D}" dt="2020-07-29T22:40:02.928" v="96" actId="20577"/>
          <ac:spMkLst>
            <pc:docMk/>
            <pc:sldMk cId="4067885522" sldId="270"/>
            <ac:spMk id="416" creationId="{6666AB88-F784-4F19-98F1-39B51BFDCF38}"/>
          </ac:spMkLst>
        </pc:spChg>
        <pc:spChg chg="mod">
          <ac:chgData name="Julie Campbell" userId="S::juliec@audienz.com::df5086f6-13ed-4e69-b43c-17720522b05d" providerId="AD" clId="Web-{171182D8-5E0F-C0C9-A2DC-99E8124F4E5D}" dt="2020-07-29T22:40:03.131" v="97" actId="20577"/>
          <ac:spMkLst>
            <pc:docMk/>
            <pc:sldMk cId="4067885522" sldId="270"/>
            <ac:spMk id="417" creationId="{587AE22A-4388-4E24-8A1B-8A5398CEEC83}"/>
          </ac:spMkLst>
        </pc:spChg>
        <pc:spChg chg="mod">
          <ac:chgData name="Julie Campbell" userId="S::juliec@audienz.com::df5086f6-13ed-4e69-b43c-17720522b05d" providerId="AD" clId="Web-{171182D8-5E0F-C0C9-A2DC-99E8124F4E5D}" dt="2020-07-29T22:40:03.318" v="98" actId="20577"/>
          <ac:spMkLst>
            <pc:docMk/>
            <pc:sldMk cId="4067885522" sldId="270"/>
            <ac:spMk id="418" creationId="{A178ADF1-7586-4119-8452-407F8B517EE9}"/>
          </ac:spMkLst>
        </pc:spChg>
        <pc:spChg chg="mod">
          <ac:chgData name="Julie Campbell" userId="S::juliec@audienz.com::df5086f6-13ed-4e69-b43c-17720522b05d" providerId="AD" clId="Web-{171182D8-5E0F-C0C9-A2DC-99E8124F4E5D}" dt="2020-07-29T22:40:03.521" v="99" actId="20577"/>
          <ac:spMkLst>
            <pc:docMk/>
            <pc:sldMk cId="4067885522" sldId="270"/>
            <ac:spMk id="419" creationId="{DF5CA68A-CAF1-48F8-A63F-1CC68B6ECB87}"/>
          </ac:spMkLst>
        </pc:spChg>
        <pc:spChg chg="mod">
          <ac:chgData name="Julie Campbell" userId="S::juliec@audienz.com::df5086f6-13ed-4e69-b43c-17720522b05d" providerId="AD" clId="Web-{171182D8-5E0F-C0C9-A2DC-99E8124F4E5D}" dt="2020-07-29T22:40:00.818" v="86" actId="20577"/>
          <ac:spMkLst>
            <pc:docMk/>
            <pc:sldMk cId="4067885522" sldId="270"/>
            <ac:spMk id="420" creationId="{607F5FF2-F4F4-4F03-BE98-B2076CEF30FC}"/>
          </ac:spMkLst>
        </pc:spChg>
        <pc:spChg chg="mod">
          <ac:chgData name="Julie Campbell" userId="S::juliec@audienz.com::df5086f6-13ed-4e69-b43c-17720522b05d" providerId="AD" clId="Web-{171182D8-5E0F-C0C9-A2DC-99E8124F4E5D}" dt="2020-07-29T22:40:01.006" v="87" actId="20577"/>
          <ac:spMkLst>
            <pc:docMk/>
            <pc:sldMk cId="4067885522" sldId="270"/>
            <ac:spMk id="421" creationId="{338D4E74-C9F4-4036-9855-05FE76A39574}"/>
          </ac:spMkLst>
        </pc:spChg>
        <pc:spChg chg="mod">
          <ac:chgData name="Julie Campbell" userId="S::juliec@audienz.com::df5086f6-13ed-4e69-b43c-17720522b05d" providerId="AD" clId="Web-{171182D8-5E0F-C0C9-A2DC-99E8124F4E5D}" dt="2020-07-29T22:40:01.193" v="88" actId="20577"/>
          <ac:spMkLst>
            <pc:docMk/>
            <pc:sldMk cId="4067885522" sldId="270"/>
            <ac:spMk id="422" creationId="{D214EDE0-8EDB-4D8E-83CB-BED175714065}"/>
          </ac:spMkLst>
        </pc:spChg>
        <pc:spChg chg="mod">
          <ac:chgData name="Julie Campbell" userId="S::juliec@audienz.com::df5086f6-13ed-4e69-b43c-17720522b05d" providerId="AD" clId="Web-{171182D8-5E0F-C0C9-A2DC-99E8124F4E5D}" dt="2020-07-29T22:40:01.475" v="89" actId="20577"/>
          <ac:spMkLst>
            <pc:docMk/>
            <pc:sldMk cId="4067885522" sldId="270"/>
            <ac:spMk id="423" creationId="{3D4ABABA-9B9E-45F5-B177-664286CC7F0A}"/>
          </ac:spMkLst>
        </pc:spChg>
        <pc:spChg chg="mod">
          <ac:chgData name="Julie Campbell" userId="S::juliec@audienz.com::df5086f6-13ed-4e69-b43c-17720522b05d" providerId="AD" clId="Web-{171182D8-5E0F-C0C9-A2DC-99E8124F4E5D}" dt="2020-07-29T22:40:01.662" v="90" actId="20577"/>
          <ac:spMkLst>
            <pc:docMk/>
            <pc:sldMk cId="4067885522" sldId="270"/>
            <ac:spMk id="424" creationId="{62C504DC-AC83-49D6-9722-CF2D64EFB3E0}"/>
          </ac:spMkLst>
        </pc:spChg>
        <pc:spChg chg="mod">
          <ac:chgData name="Julie Campbell" userId="S::juliec@audienz.com::df5086f6-13ed-4e69-b43c-17720522b05d" providerId="AD" clId="Web-{171182D8-5E0F-C0C9-A2DC-99E8124F4E5D}" dt="2020-07-29T22:40:01.896" v="91" actId="20577"/>
          <ac:spMkLst>
            <pc:docMk/>
            <pc:sldMk cId="4067885522" sldId="270"/>
            <ac:spMk id="425" creationId="{579C447D-C5FB-49B7-B372-B68D3FEA56E3}"/>
          </ac:spMkLst>
        </pc:spChg>
        <pc:spChg chg="mod">
          <ac:chgData name="Julie Campbell" userId="S::juliec@audienz.com::df5086f6-13ed-4e69-b43c-17720522b05d" providerId="AD" clId="Web-{171182D8-5E0F-C0C9-A2DC-99E8124F4E5D}" dt="2020-07-29T22:40:02.100" v="92" actId="20577"/>
          <ac:spMkLst>
            <pc:docMk/>
            <pc:sldMk cId="4067885522" sldId="270"/>
            <ac:spMk id="426" creationId="{8698EC9B-2238-45EA-9C04-ADDD79127C12}"/>
          </ac:spMkLst>
        </pc:spChg>
        <pc:spChg chg="mod">
          <ac:chgData name="Julie Campbell" userId="S::juliec@audienz.com::df5086f6-13ed-4e69-b43c-17720522b05d" providerId="AD" clId="Web-{171182D8-5E0F-C0C9-A2DC-99E8124F4E5D}" dt="2020-07-29T22:39:59.428" v="79" actId="20577"/>
          <ac:spMkLst>
            <pc:docMk/>
            <pc:sldMk cId="4067885522" sldId="270"/>
            <ac:spMk id="427" creationId="{697B2BE3-FEC5-48E1-9CF8-638357BB64C7}"/>
          </ac:spMkLst>
        </pc:spChg>
        <pc:spChg chg="mod">
          <ac:chgData name="Julie Campbell" userId="S::juliec@audienz.com::df5086f6-13ed-4e69-b43c-17720522b05d" providerId="AD" clId="Web-{171182D8-5E0F-C0C9-A2DC-99E8124F4E5D}" dt="2020-07-29T22:39:59.631" v="80" actId="20577"/>
          <ac:spMkLst>
            <pc:docMk/>
            <pc:sldMk cId="4067885522" sldId="270"/>
            <ac:spMk id="428" creationId="{194185F2-35E5-4EC8-AB52-6B5F861BEDCE}"/>
          </ac:spMkLst>
        </pc:spChg>
        <pc:spChg chg="mod">
          <ac:chgData name="Julie Campbell" userId="S::juliec@audienz.com::df5086f6-13ed-4e69-b43c-17720522b05d" providerId="AD" clId="Web-{171182D8-5E0F-C0C9-A2DC-99E8124F4E5D}" dt="2020-07-29T22:39:59.849" v="81" actId="20577"/>
          <ac:spMkLst>
            <pc:docMk/>
            <pc:sldMk cId="4067885522" sldId="270"/>
            <ac:spMk id="429" creationId="{CC95CBD4-7CBA-43CE-9F26-B024E325072A}"/>
          </ac:spMkLst>
        </pc:spChg>
        <pc:spChg chg="mod">
          <ac:chgData name="Julie Campbell" userId="S::juliec@audienz.com::df5086f6-13ed-4e69-b43c-17720522b05d" providerId="AD" clId="Web-{171182D8-5E0F-C0C9-A2DC-99E8124F4E5D}" dt="2020-07-29T22:40:00.037" v="82" actId="20577"/>
          <ac:spMkLst>
            <pc:docMk/>
            <pc:sldMk cId="4067885522" sldId="270"/>
            <ac:spMk id="430" creationId="{450822FA-FDF3-41D2-BB8C-DEF641202496}"/>
          </ac:spMkLst>
        </pc:spChg>
        <pc:spChg chg="mod">
          <ac:chgData name="Julie Campbell" userId="S::juliec@audienz.com::df5086f6-13ed-4e69-b43c-17720522b05d" providerId="AD" clId="Web-{171182D8-5E0F-C0C9-A2DC-99E8124F4E5D}" dt="2020-07-29T22:40:00.224" v="83" actId="20577"/>
          <ac:spMkLst>
            <pc:docMk/>
            <pc:sldMk cId="4067885522" sldId="270"/>
            <ac:spMk id="431" creationId="{8CD4A709-4668-437C-879B-C1AC0D5F26D3}"/>
          </ac:spMkLst>
        </pc:spChg>
        <pc:spChg chg="mod">
          <ac:chgData name="Julie Campbell" userId="S::juliec@audienz.com::df5086f6-13ed-4e69-b43c-17720522b05d" providerId="AD" clId="Web-{171182D8-5E0F-C0C9-A2DC-99E8124F4E5D}" dt="2020-07-29T22:40:00.412" v="84" actId="20577"/>
          <ac:spMkLst>
            <pc:docMk/>
            <pc:sldMk cId="4067885522" sldId="270"/>
            <ac:spMk id="432" creationId="{868DDE1A-1301-4D5F-AB92-D2D1D65899BE}"/>
          </ac:spMkLst>
        </pc:spChg>
        <pc:spChg chg="mod">
          <ac:chgData name="Julie Campbell" userId="S::juliec@audienz.com::df5086f6-13ed-4e69-b43c-17720522b05d" providerId="AD" clId="Web-{171182D8-5E0F-C0C9-A2DC-99E8124F4E5D}" dt="2020-07-29T22:40:00.615" v="85" actId="20577"/>
          <ac:spMkLst>
            <pc:docMk/>
            <pc:sldMk cId="4067885522" sldId="270"/>
            <ac:spMk id="433" creationId="{EBCE69E7-FDFF-4E9C-81CE-0BEFA6B2470A}"/>
          </ac:spMkLst>
        </pc:spChg>
        <pc:spChg chg="mod">
          <ac:chgData name="Julie Campbell" userId="S::juliec@audienz.com::df5086f6-13ed-4e69-b43c-17720522b05d" providerId="AD" clId="Web-{171182D8-5E0F-C0C9-A2DC-99E8124F4E5D}" dt="2020-07-29T22:39:58.021" v="72" actId="20577"/>
          <ac:spMkLst>
            <pc:docMk/>
            <pc:sldMk cId="4067885522" sldId="270"/>
            <ac:spMk id="434" creationId="{C0EE65DF-C302-468B-8137-5C6E50E53705}"/>
          </ac:spMkLst>
        </pc:spChg>
        <pc:spChg chg="mod">
          <ac:chgData name="Julie Campbell" userId="S::juliec@audienz.com::df5086f6-13ed-4e69-b43c-17720522b05d" providerId="AD" clId="Web-{171182D8-5E0F-C0C9-A2DC-99E8124F4E5D}" dt="2020-07-29T22:39:58.224" v="73" actId="20577"/>
          <ac:spMkLst>
            <pc:docMk/>
            <pc:sldMk cId="4067885522" sldId="270"/>
            <ac:spMk id="435" creationId="{2BD74503-9738-46D4-94DB-A2A36B9AB95C}"/>
          </ac:spMkLst>
        </pc:spChg>
        <pc:spChg chg="mod">
          <ac:chgData name="Julie Campbell" userId="S::juliec@audienz.com::df5086f6-13ed-4e69-b43c-17720522b05d" providerId="AD" clId="Web-{171182D8-5E0F-C0C9-A2DC-99E8124F4E5D}" dt="2020-07-29T22:39:58.428" v="74" actId="20577"/>
          <ac:spMkLst>
            <pc:docMk/>
            <pc:sldMk cId="4067885522" sldId="270"/>
            <ac:spMk id="436" creationId="{B76FDE28-E5BA-4C6A-BF23-E1864C771E53}"/>
          </ac:spMkLst>
        </pc:spChg>
        <pc:spChg chg="mod">
          <ac:chgData name="Julie Campbell" userId="S::juliec@audienz.com::df5086f6-13ed-4e69-b43c-17720522b05d" providerId="AD" clId="Web-{171182D8-5E0F-C0C9-A2DC-99E8124F4E5D}" dt="2020-07-29T22:39:58.615" v="75" actId="20577"/>
          <ac:spMkLst>
            <pc:docMk/>
            <pc:sldMk cId="4067885522" sldId="270"/>
            <ac:spMk id="437" creationId="{64936B16-FB6C-4083-AE81-6C9470C53820}"/>
          </ac:spMkLst>
        </pc:spChg>
        <pc:spChg chg="mod">
          <ac:chgData name="Julie Campbell" userId="S::juliec@audienz.com::df5086f6-13ed-4e69-b43c-17720522b05d" providerId="AD" clId="Web-{171182D8-5E0F-C0C9-A2DC-99E8124F4E5D}" dt="2020-07-29T22:39:58.834" v="76" actId="20577"/>
          <ac:spMkLst>
            <pc:docMk/>
            <pc:sldMk cId="4067885522" sldId="270"/>
            <ac:spMk id="438" creationId="{194148CE-023B-4609-AA6B-BF14C4CE9681}"/>
          </ac:spMkLst>
        </pc:spChg>
        <pc:spChg chg="mod">
          <ac:chgData name="Julie Campbell" userId="S::juliec@audienz.com::df5086f6-13ed-4e69-b43c-17720522b05d" providerId="AD" clId="Web-{171182D8-5E0F-C0C9-A2DC-99E8124F4E5D}" dt="2020-07-29T22:39:59.037" v="77" actId="20577"/>
          <ac:spMkLst>
            <pc:docMk/>
            <pc:sldMk cId="4067885522" sldId="270"/>
            <ac:spMk id="439" creationId="{B70A3216-83EE-4347-B6C1-448C3C353203}"/>
          </ac:spMkLst>
        </pc:spChg>
        <pc:spChg chg="mod">
          <ac:chgData name="Julie Campbell" userId="S::juliec@audienz.com::df5086f6-13ed-4e69-b43c-17720522b05d" providerId="AD" clId="Web-{171182D8-5E0F-C0C9-A2DC-99E8124F4E5D}" dt="2020-07-29T22:39:59.240" v="78" actId="20577"/>
          <ac:spMkLst>
            <pc:docMk/>
            <pc:sldMk cId="4067885522" sldId="270"/>
            <ac:spMk id="440" creationId="{EFF49102-DE6C-4A15-878C-BE5E8CFD28C5}"/>
          </ac:spMkLst>
        </pc:spChg>
        <pc:spChg chg="mod">
          <ac:chgData name="Julie Campbell" userId="S::juliec@audienz.com::df5086f6-13ed-4e69-b43c-17720522b05d" providerId="AD" clId="Web-{171182D8-5E0F-C0C9-A2DC-99E8124F4E5D}" dt="2020-07-29T22:39:56.459" v="65" actId="20577"/>
          <ac:spMkLst>
            <pc:docMk/>
            <pc:sldMk cId="4067885522" sldId="270"/>
            <ac:spMk id="441" creationId="{81557637-19A9-4F08-960E-30AA619BEACA}"/>
          </ac:spMkLst>
        </pc:spChg>
        <pc:spChg chg="mod">
          <ac:chgData name="Julie Campbell" userId="S::juliec@audienz.com::df5086f6-13ed-4e69-b43c-17720522b05d" providerId="AD" clId="Web-{171182D8-5E0F-C0C9-A2DC-99E8124F4E5D}" dt="2020-07-29T22:39:56.724" v="66" actId="20577"/>
          <ac:spMkLst>
            <pc:docMk/>
            <pc:sldMk cId="4067885522" sldId="270"/>
            <ac:spMk id="442" creationId="{DADE1964-C998-45FB-997C-8AF8590AFB5E}"/>
          </ac:spMkLst>
        </pc:spChg>
        <pc:spChg chg="mod">
          <ac:chgData name="Julie Campbell" userId="S::juliec@audienz.com::df5086f6-13ed-4e69-b43c-17720522b05d" providerId="AD" clId="Web-{171182D8-5E0F-C0C9-A2DC-99E8124F4E5D}" dt="2020-07-29T22:39:56.959" v="67" actId="20577"/>
          <ac:spMkLst>
            <pc:docMk/>
            <pc:sldMk cId="4067885522" sldId="270"/>
            <ac:spMk id="443" creationId="{723B5A6B-A5FF-4DD7-B9FA-B25E468373A0}"/>
          </ac:spMkLst>
        </pc:spChg>
        <pc:spChg chg="mod">
          <ac:chgData name="Julie Campbell" userId="S::juliec@audienz.com::df5086f6-13ed-4e69-b43c-17720522b05d" providerId="AD" clId="Web-{171182D8-5E0F-C0C9-A2DC-99E8124F4E5D}" dt="2020-07-29T22:39:57.146" v="68" actId="20577"/>
          <ac:spMkLst>
            <pc:docMk/>
            <pc:sldMk cId="4067885522" sldId="270"/>
            <ac:spMk id="444" creationId="{17C5DC58-96BA-414E-83D2-F4FE8EA33E2F}"/>
          </ac:spMkLst>
        </pc:spChg>
        <pc:spChg chg="mod">
          <ac:chgData name="Julie Campbell" userId="S::juliec@audienz.com::df5086f6-13ed-4e69-b43c-17720522b05d" providerId="AD" clId="Web-{171182D8-5E0F-C0C9-A2DC-99E8124F4E5D}" dt="2020-07-29T22:39:57.365" v="69" actId="20577"/>
          <ac:spMkLst>
            <pc:docMk/>
            <pc:sldMk cId="4067885522" sldId="270"/>
            <ac:spMk id="445" creationId="{D0A15154-B5D9-4413-867D-5F178DBBBB27}"/>
          </ac:spMkLst>
        </pc:spChg>
        <pc:spChg chg="mod">
          <ac:chgData name="Julie Campbell" userId="S::juliec@audienz.com::df5086f6-13ed-4e69-b43c-17720522b05d" providerId="AD" clId="Web-{171182D8-5E0F-C0C9-A2DC-99E8124F4E5D}" dt="2020-07-29T22:39:57.568" v="70" actId="20577"/>
          <ac:spMkLst>
            <pc:docMk/>
            <pc:sldMk cId="4067885522" sldId="270"/>
            <ac:spMk id="446" creationId="{DA4F93B6-21DA-421D-B589-F9825BA53830}"/>
          </ac:spMkLst>
        </pc:spChg>
        <pc:spChg chg="mod">
          <ac:chgData name="Julie Campbell" userId="S::juliec@audienz.com::df5086f6-13ed-4e69-b43c-17720522b05d" providerId="AD" clId="Web-{171182D8-5E0F-C0C9-A2DC-99E8124F4E5D}" dt="2020-07-29T22:39:57.818" v="71" actId="20577"/>
          <ac:spMkLst>
            <pc:docMk/>
            <pc:sldMk cId="4067885522" sldId="270"/>
            <ac:spMk id="447" creationId="{EDB1261E-767B-4A12-AF94-4FF36BF5EBE7}"/>
          </ac:spMkLst>
        </pc:spChg>
        <pc:spChg chg="mod">
          <ac:chgData name="Julie Campbell" userId="S::juliec@audienz.com::df5086f6-13ed-4e69-b43c-17720522b05d" providerId="AD" clId="Web-{171182D8-5E0F-C0C9-A2DC-99E8124F4E5D}" dt="2020-07-29T22:39:54.756" v="58" actId="20577"/>
          <ac:spMkLst>
            <pc:docMk/>
            <pc:sldMk cId="4067885522" sldId="270"/>
            <ac:spMk id="448" creationId="{D4E745CC-6F21-47A0-A201-E742AD13CAA4}"/>
          </ac:spMkLst>
        </pc:spChg>
        <pc:spChg chg="mod">
          <ac:chgData name="Julie Campbell" userId="S::juliec@audienz.com::df5086f6-13ed-4e69-b43c-17720522b05d" providerId="AD" clId="Web-{171182D8-5E0F-C0C9-A2DC-99E8124F4E5D}" dt="2020-07-29T22:39:54.959" v="59" actId="20577"/>
          <ac:spMkLst>
            <pc:docMk/>
            <pc:sldMk cId="4067885522" sldId="270"/>
            <ac:spMk id="449" creationId="{4D4F29C9-646E-48BC-A8C1-1CA9B4893EB4}"/>
          </ac:spMkLst>
        </pc:spChg>
        <pc:spChg chg="mod">
          <ac:chgData name="Julie Campbell" userId="S::juliec@audienz.com::df5086f6-13ed-4e69-b43c-17720522b05d" providerId="AD" clId="Web-{171182D8-5E0F-C0C9-A2DC-99E8124F4E5D}" dt="2020-07-29T22:39:55.162" v="60" actId="20577"/>
          <ac:spMkLst>
            <pc:docMk/>
            <pc:sldMk cId="4067885522" sldId="270"/>
            <ac:spMk id="450" creationId="{6C295DA5-6885-4C55-9D96-42BA30CAFE45}"/>
          </ac:spMkLst>
        </pc:spChg>
        <pc:spChg chg="mod">
          <ac:chgData name="Julie Campbell" userId="S::juliec@audienz.com::df5086f6-13ed-4e69-b43c-17720522b05d" providerId="AD" clId="Web-{171182D8-5E0F-C0C9-A2DC-99E8124F4E5D}" dt="2020-07-29T22:39:55.365" v="61" actId="20577"/>
          <ac:spMkLst>
            <pc:docMk/>
            <pc:sldMk cId="4067885522" sldId="270"/>
            <ac:spMk id="451" creationId="{336B3874-6575-481F-9676-44535F1DC38D}"/>
          </ac:spMkLst>
        </pc:spChg>
        <pc:spChg chg="mod">
          <ac:chgData name="Julie Campbell" userId="S::juliec@audienz.com::df5086f6-13ed-4e69-b43c-17720522b05d" providerId="AD" clId="Web-{171182D8-5E0F-C0C9-A2DC-99E8124F4E5D}" dt="2020-07-29T22:39:55.740" v="62" actId="20577"/>
          <ac:spMkLst>
            <pc:docMk/>
            <pc:sldMk cId="4067885522" sldId="270"/>
            <ac:spMk id="452" creationId="{0AAD979C-6965-4EBA-99B8-CA66167CC851}"/>
          </ac:spMkLst>
        </pc:spChg>
        <pc:spChg chg="mod">
          <ac:chgData name="Julie Campbell" userId="S::juliec@audienz.com::df5086f6-13ed-4e69-b43c-17720522b05d" providerId="AD" clId="Web-{171182D8-5E0F-C0C9-A2DC-99E8124F4E5D}" dt="2020-07-29T22:39:56.021" v="63" actId="20577"/>
          <ac:spMkLst>
            <pc:docMk/>
            <pc:sldMk cId="4067885522" sldId="270"/>
            <ac:spMk id="453" creationId="{65B30794-0413-498B-9452-354421BB6A73}"/>
          </ac:spMkLst>
        </pc:spChg>
        <pc:spChg chg="mod">
          <ac:chgData name="Julie Campbell" userId="S::juliec@audienz.com::df5086f6-13ed-4e69-b43c-17720522b05d" providerId="AD" clId="Web-{171182D8-5E0F-C0C9-A2DC-99E8124F4E5D}" dt="2020-07-29T22:39:56.240" v="64" actId="20577"/>
          <ac:spMkLst>
            <pc:docMk/>
            <pc:sldMk cId="4067885522" sldId="270"/>
            <ac:spMk id="454" creationId="{5DA9EC07-2DB6-494C-9101-02B168804CEA}"/>
          </ac:spMkLst>
        </pc:spChg>
        <pc:spChg chg="mod">
          <ac:chgData name="Julie Campbell" userId="S::juliec@audienz.com::df5086f6-13ed-4e69-b43c-17720522b05d" providerId="AD" clId="Web-{171182D8-5E0F-C0C9-A2DC-99E8124F4E5D}" dt="2020-07-29T22:39:53.240" v="51" actId="20577"/>
          <ac:spMkLst>
            <pc:docMk/>
            <pc:sldMk cId="4067885522" sldId="270"/>
            <ac:spMk id="455" creationId="{1F4ADE52-DEE7-49CB-A950-DB76B635ED6B}"/>
          </ac:spMkLst>
        </pc:spChg>
        <pc:spChg chg="mod">
          <ac:chgData name="Julie Campbell" userId="S::juliec@audienz.com::df5086f6-13ed-4e69-b43c-17720522b05d" providerId="AD" clId="Web-{171182D8-5E0F-C0C9-A2DC-99E8124F4E5D}" dt="2020-07-29T22:39:53.459" v="52" actId="20577"/>
          <ac:spMkLst>
            <pc:docMk/>
            <pc:sldMk cId="4067885522" sldId="270"/>
            <ac:spMk id="456" creationId="{F6D10213-CF7B-485D-8FB3-D7B4789472AF}"/>
          </ac:spMkLst>
        </pc:spChg>
        <pc:spChg chg="mod">
          <ac:chgData name="Julie Campbell" userId="S::juliec@audienz.com::df5086f6-13ed-4e69-b43c-17720522b05d" providerId="AD" clId="Web-{171182D8-5E0F-C0C9-A2DC-99E8124F4E5D}" dt="2020-07-29T22:39:53.677" v="53" actId="20577"/>
          <ac:spMkLst>
            <pc:docMk/>
            <pc:sldMk cId="4067885522" sldId="270"/>
            <ac:spMk id="457" creationId="{1B6277DA-1BCF-42E3-9AF6-0C153EC362B6}"/>
          </ac:spMkLst>
        </pc:spChg>
        <pc:spChg chg="mod">
          <ac:chgData name="Julie Campbell" userId="S::juliec@audienz.com::df5086f6-13ed-4e69-b43c-17720522b05d" providerId="AD" clId="Web-{171182D8-5E0F-C0C9-A2DC-99E8124F4E5D}" dt="2020-07-29T22:39:53.912" v="54" actId="20577"/>
          <ac:spMkLst>
            <pc:docMk/>
            <pc:sldMk cId="4067885522" sldId="270"/>
            <ac:spMk id="458" creationId="{2467B776-C640-403E-B460-7ED1DA5267D4}"/>
          </ac:spMkLst>
        </pc:spChg>
        <pc:spChg chg="mod">
          <ac:chgData name="Julie Campbell" userId="S::juliec@audienz.com::df5086f6-13ed-4e69-b43c-17720522b05d" providerId="AD" clId="Web-{171182D8-5E0F-C0C9-A2DC-99E8124F4E5D}" dt="2020-07-29T22:39:54.115" v="55" actId="20577"/>
          <ac:spMkLst>
            <pc:docMk/>
            <pc:sldMk cId="4067885522" sldId="270"/>
            <ac:spMk id="459" creationId="{816B507D-090A-4A8C-9FCB-799CB6598CF8}"/>
          </ac:spMkLst>
        </pc:spChg>
        <pc:spChg chg="mod">
          <ac:chgData name="Julie Campbell" userId="S::juliec@audienz.com::df5086f6-13ed-4e69-b43c-17720522b05d" providerId="AD" clId="Web-{171182D8-5E0F-C0C9-A2DC-99E8124F4E5D}" dt="2020-07-29T22:39:54.334" v="56" actId="20577"/>
          <ac:spMkLst>
            <pc:docMk/>
            <pc:sldMk cId="4067885522" sldId="270"/>
            <ac:spMk id="460" creationId="{EFB61BB7-B5FA-45CC-BE0C-0408F45D885D}"/>
          </ac:spMkLst>
        </pc:spChg>
        <pc:spChg chg="mod">
          <ac:chgData name="Julie Campbell" userId="S::juliec@audienz.com::df5086f6-13ed-4e69-b43c-17720522b05d" providerId="AD" clId="Web-{171182D8-5E0F-C0C9-A2DC-99E8124F4E5D}" dt="2020-07-29T22:39:54.537" v="57" actId="20577"/>
          <ac:spMkLst>
            <pc:docMk/>
            <pc:sldMk cId="4067885522" sldId="270"/>
            <ac:spMk id="461" creationId="{215734F4-0B73-4EC3-963C-FF9292A151F6}"/>
          </ac:spMkLst>
        </pc:spChg>
        <pc:spChg chg="mod">
          <ac:chgData name="Julie Campbell" userId="S::juliec@audienz.com::df5086f6-13ed-4e69-b43c-17720522b05d" providerId="AD" clId="Web-{171182D8-5E0F-C0C9-A2DC-99E8124F4E5D}" dt="2020-07-29T22:39:51.693" v="44" actId="20577"/>
          <ac:spMkLst>
            <pc:docMk/>
            <pc:sldMk cId="4067885522" sldId="270"/>
            <ac:spMk id="462" creationId="{EB7F6D97-B98D-4930-829D-437B40EBD2F8}"/>
          </ac:spMkLst>
        </pc:spChg>
        <pc:spChg chg="mod">
          <ac:chgData name="Julie Campbell" userId="S::juliec@audienz.com::df5086f6-13ed-4e69-b43c-17720522b05d" providerId="AD" clId="Web-{171182D8-5E0F-C0C9-A2DC-99E8124F4E5D}" dt="2020-07-29T22:39:51.927" v="45" actId="20577"/>
          <ac:spMkLst>
            <pc:docMk/>
            <pc:sldMk cId="4067885522" sldId="270"/>
            <ac:spMk id="463" creationId="{1C3071A6-62A6-4A20-9255-42BFF96E2680}"/>
          </ac:spMkLst>
        </pc:spChg>
        <pc:spChg chg="mod">
          <ac:chgData name="Julie Campbell" userId="S::juliec@audienz.com::df5086f6-13ed-4e69-b43c-17720522b05d" providerId="AD" clId="Web-{171182D8-5E0F-C0C9-A2DC-99E8124F4E5D}" dt="2020-07-29T22:39:52.131" v="46" actId="20577"/>
          <ac:spMkLst>
            <pc:docMk/>
            <pc:sldMk cId="4067885522" sldId="270"/>
            <ac:spMk id="464" creationId="{1CC4DB74-0313-411C-B17A-D9A398BC8E35}"/>
          </ac:spMkLst>
        </pc:spChg>
        <pc:spChg chg="mod">
          <ac:chgData name="Julie Campbell" userId="S::juliec@audienz.com::df5086f6-13ed-4e69-b43c-17720522b05d" providerId="AD" clId="Web-{171182D8-5E0F-C0C9-A2DC-99E8124F4E5D}" dt="2020-07-29T22:39:52.349" v="47" actId="20577"/>
          <ac:spMkLst>
            <pc:docMk/>
            <pc:sldMk cId="4067885522" sldId="270"/>
            <ac:spMk id="465" creationId="{375BBE67-7F81-442C-B1A8-62B2F9369F2F}"/>
          </ac:spMkLst>
        </pc:spChg>
        <pc:spChg chg="mod">
          <ac:chgData name="Julie Campbell" userId="S::juliec@audienz.com::df5086f6-13ed-4e69-b43c-17720522b05d" providerId="AD" clId="Web-{171182D8-5E0F-C0C9-A2DC-99E8124F4E5D}" dt="2020-07-29T22:39:52.552" v="48" actId="20577"/>
          <ac:spMkLst>
            <pc:docMk/>
            <pc:sldMk cId="4067885522" sldId="270"/>
            <ac:spMk id="466" creationId="{3FEDB777-5206-4443-A30C-74355B021DE8}"/>
          </ac:spMkLst>
        </pc:spChg>
        <pc:spChg chg="mod">
          <ac:chgData name="Julie Campbell" userId="S::juliec@audienz.com::df5086f6-13ed-4e69-b43c-17720522b05d" providerId="AD" clId="Web-{171182D8-5E0F-C0C9-A2DC-99E8124F4E5D}" dt="2020-07-29T22:39:52.756" v="49" actId="20577"/>
          <ac:spMkLst>
            <pc:docMk/>
            <pc:sldMk cId="4067885522" sldId="270"/>
            <ac:spMk id="467" creationId="{B864668E-8823-4E38-9651-8A66B07D0C1F}"/>
          </ac:spMkLst>
        </pc:spChg>
        <pc:spChg chg="mod">
          <ac:chgData name="Julie Campbell" userId="S::juliec@audienz.com::df5086f6-13ed-4e69-b43c-17720522b05d" providerId="AD" clId="Web-{171182D8-5E0F-C0C9-A2DC-99E8124F4E5D}" dt="2020-07-29T22:39:52.974" v="50" actId="20577"/>
          <ac:spMkLst>
            <pc:docMk/>
            <pc:sldMk cId="4067885522" sldId="270"/>
            <ac:spMk id="468" creationId="{E2394DA0-1BF6-4BF9-B54F-A3720B0D52B1}"/>
          </ac:spMkLst>
        </pc:spChg>
        <pc:spChg chg="mod">
          <ac:chgData name="Julie Campbell" userId="S::juliec@audienz.com::df5086f6-13ed-4e69-b43c-17720522b05d" providerId="AD" clId="Web-{171182D8-5E0F-C0C9-A2DC-99E8124F4E5D}" dt="2020-07-29T22:39:50.287" v="37" actId="20577"/>
          <ac:spMkLst>
            <pc:docMk/>
            <pc:sldMk cId="4067885522" sldId="270"/>
            <ac:spMk id="469" creationId="{24B1429F-DA05-4917-A57C-F65E4466FF3D}"/>
          </ac:spMkLst>
        </pc:spChg>
        <pc:spChg chg="mod">
          <ac:chgData name="Julie Campbell" userId="S::juliec@audienz.com::df5086f6-13ed-4e69-b43c-17720522b05d" providerId="AD" clId="Web-{171182D8-5E0F-C0C9-A2DC-99E8124F4E5D}" dt="2020-07-29T22:39:50.490" v="38" actId="20577"/>
          <ac:spMkLst>
            <pc:docMk/>
            <pc:sldMk cId="4067885522" sldId="270"/>
            <ac:spMk id="470" creationId="{EF945DFD-F7D4-4E95-B29C-D609483336B3}"/>
          </ac:spMkLst>
        </pc:spChg>
        <pc:spChg chg="mod">
          <ac:chgData name="Julie Campbell" userId="S::juliec@audienz.com::df5086f6-13ed-4e69-b43c-17720522b05d" providerId="AD" clId="Web-{171182D8-5E0F-C0C9-A2DC-99E8124F4E5D}" dt="2020-07-29T22:39:50.693" v="39" actId="20577"/>
          <ac:spMkLst>
            <pc:docMk/>
            <pc:sldMk cId="4067885522" sldId="270"/>
            <ac:spMk id="471" creationId="{0E446A53-8B58-4A85-8BF9-07FA735F4ED1}"/>
          </ac:spMkLst>
        </pc:spChg>
        <pc:spChg chg="mod">
          <ac:chgData name="Julie Campbell" userId="S::juliec@audienz.com::df5086f6-13ed-4e69-b43c-17720522b05d" providerId="AD" clId="Web-{171182D8-5E0F-C0C9-A2DC-99E8124F4E5D}" dt="2020-07-29T22:39:50.881" v="40" actId="20577"/>
          <ac:spMkLst>
            <pc:docMk/>
            <pc:sldMk cId="4067885522" sldId="270"/>
            <ac:spMk id="472" creationId="{71016D6A-4BC7-492C-986C-C13DD6D33DD0}"/>
          </ac:spMkLst>
        </pc:spChg>
        <pc:spChg chg="mod">
          <ac:chgData name="Julie Campbell" userId="S::juliec@audienz.com::df5086f6-13ed-4e69-b43c-17720522b05d" providerId="AD" clId="Web-{171182D8-5E0F-C0C9-A2DC-99E8124F4E5D}" dt="2020-07-29T22:39:51.084" v="41" actId="20577"/>
          <ac:spMkLst>
            <pc:docMk/>
            <pc:sldMk cId="4067885522" sldId="270"/>
            <ac:spMk id="473" creationId="{AA018114-FC99-4528-8BD4-7EF755CBD0EF}"/>
          </ac:spMkLst>
        </pc:spChg>
        <pc:spChg chg="mod">
          <ac:chgData name="Julie Campbell" userId="S::juliec@audienz.com::df5086f6-13ed-4e69-b43c-17720522b05d" providerId="AD" clId="Web-{171182D8-5E0F-C0C9-A2DC-99E8124F4E5D}" dt="2020-07-29T22:39:51.287" v="42" actId="20577"/>
          <ac:spMkLst>
            <pc:docMk/>
            <pc:sldMk cId="4067885522" sldId="270"/>
            <ac:spMk id="474" creationId="{4CDF10D5-633D-464A-9A91-976C2FA7208F}"/>
          </ac:spMkLst>
        </pc:spChg>
        <pc:spChg chg="mod">
          <ac:chgData name="Julie Campbell" userId="S::juliec@audienz.com::df5086f6-13ed-4e69-b43c-17720522b05d" providerId="AD" clId="Web-{171182D8-5E0F-C0C9-A2DC-99E8124F4E5D}" dt="2020-07-29T22:39:51.474" v="43" actId="20577"/>
          <ac:spMkLst>
            <pc:docMk/>
            <pc:sldMk cId="4067885522" sldId="270"/>
            <ac:spMk id="475" creationId="{733D58BC-91FF-4F11-8C73-ADBE1C19660A}"/>
          </ac:spMkLst>
        </pc:spChg>
        <pc:spChg chg="mod">
          <ac:chgData name="Julie Campbell" userId="S::juliec@audienz.com::df5086f6-13ed-4e69-b43c-17720522b05d" providerId="AD" clId="Web-{171182D8-5E0F-C0C9-A2DC-99E8124F4E5D}" dt="2020-07-29T22:39:48.412" v="30" actId="20577"/>
          <ac:spMkLst>
            <pc:docMk/>
            <pc:sldMk cId="4067885522" sldId="270"/>
            <ac:spMk id="476" creationId="{DEC0E190-279E-4C86-96D2-C0A042C66BD0}"/>
          </ac:spMkLst>
        </pc:spChg>
        <pc:spChg chg="mod">
          <ac:chgData name="Julie Campbell" userId="S::juliec@audienz.com::df5086f6-13ed-4e69-b43c-17720522b05d" providerId="AD" clId="Web-{171182D8-5E0F-C0C9-A2DC-99E8124F4E5D}" dt="2020-07-29T22:39:48.646" v="31" actId="20577"/>
          <ac:spMkLst>
            <pc:docMk/>
            <pc:sldMk cId="4067885522" sldId="270"/>
            <ac:spMk id="477" creationId="{439BF4AF-4380-4368-8526-335108FD591D}"/>
          </ac:spMkLst>
        </pc:spChg>
        <pc:spChg chg="mod">
          <ac:chgData name="Julie Campbell" userId="S::juliec@audienz.com::df5086f6-13ed-4e69-b43c-17720522b05d" providerId="AD" clId="Web-{171182D8-5E0F-C0C9-A2DC-99E8124F4E5D}" dt="2020-07-29T22:39:48.880" v="32" actId="20577"/>
          <ac:spMkLst>
            <pc:docMk/>
            <pc:sldMk cId="4067885522" sldId="270"/>
            <ac:spMk id="478" creationId="{10C8D94C-E36C-45E7-B5D2-E1A960772335}"/>
          </ac:spMkLst>
        </pc:spChg>
        <pc:spChg chg="mod">
          <ac:chgData name="Julie Campbell" userId="S::juliec@audienz.com::df5086f6-13ed-4e69-b43c-17720522b05d" providerId="AD" clId="Web-{171182D8-5E0F-C0C9-A2DC-99E8124F4E5D}" dt="2020-07-29T22:39:49.099" v="33" actId="20577"/>
          <ac:spMkLst>
            <pc:docMk/>
            <pc:sldMk cId="4067885522" sldId="270"/>
            <ac:spMk id="479" creationId="{7A0FF6F8-B179-4D55-86C7-8D958C14FC10}"/>
          </ac:spMkLst>
        </pc:spChg>
        <pc:spChg chg="mod">
          <ac:chgData name="Julie Campbell" userId="S::juliec@audienz.com::df5086f6-13ed-4e69-b43c-17720522b05d" providerId="AD" clId="Web-{171182D8-5E0F-C0C9-A2DC-99E8124F4E5D}" dt="2020-07-29T22:39:49.365" v="34" actId="20577"/>
          <ac:spMkLst>
            <pc:docMk/>
            <pc:sldMk cId="4067885522" sldId="270"/>
            <ac:spMk id="480" creationId="{E21DDC93-69BC-419D-BB8A-374C60DFECF8}"/>
          </ac:spMkLst>
        </pc:spChg>
        <pc:spChg chg="mod">
          <ac:chgData name="Julie Campbell" userId="S::juliec@audienz.com::df5086f6-13ed-4e69-b43c-17720522b05d" providerId="AD" clId="Web-{171182D8-5E0F-C0C9-A2DC-99E8124F4E5D}" dt="2020-07-29T22:39:49.709" v="35" actId="20577"/>
          <ac:spMkLst>
            <pc:docMk/>
            <pc:sldMk cId="4067885522" sldId="270"/>
            <ac:spMk id="481" creationId="{6CEB875E-99DB-4448-817E-2D0C1003C9EB}"/>
          </ac:spMkLst>
        </pc:spChg>
        <pc:spChg chg="mod">
          <ac:chgData name="Julie Campbell" userId="S::juliec@audienz.com::df5086f6-13ed-4e69-b43c-17720522b05d" providerId="AD" clId="Web-{171182D8-5E0F-C0C9-A2DC-99E8124F4E5D}" dt="2020-07-29T22:39:50.037" v="36" actId="20577"/>
          <ac:spMkLst>
            <pc:docMk/>
            <pc:sldMk cId="4067885522" sldId="270"/>
            <ac:spMk id="482" creationId="{BE102AF5-691C-4B1D-8ED8-B446F111D1A2}"/>
          </ac:spMkLst>
        </pc:spChg>
        <pc:spChg chg="mod">
          <ac:chgData name="Julie Campbell" userId="S::juliec@audienz.com::df5086f6-13ed-4e69-b43c-17720522b05d" providerId="AD" clId="Web-{171182D8-5E0F-C0C9-A2DC-99E8124F4E5D}" dt="2020-07-29T22:39:47.068" v="23" actId="20577"/>
          <ac:spMkLst>
            <pc:docMk/>
            <pc:sldMk cId="4067885522" sldId="270"/>
            <ac:spMk id="483" creationId="{B5D75DB2-B311-41E6-84A4-E76BF2165BE5}"/>
          </ac:spMkLst>
        </pc:spChg>
        <pc:spChg chg="mod">
          <ac:chgData name="Julie Campbell" userId="S::juliec@audienz.com::df5086f6-13ed-4e69-b43c-17720522b05d" providerId="AD" clId="Web-{171182D8-5E0F-C0C9-A2DC-99E8124F4E5D}" dt="2020-07-29T22:39:47.271" v="24" actId="20577"/>
          <ac:spMkLst>
            <pc:docMk/>
            <pc:sldMk cId="4067885522" sldId="270"/>
            <ac:spMk id="484" creationId="{BD44A692-83FE-4031-A534-8236DB8EC1E1}"/>
          </ac:spMkLst>
        </pc:spChg>
        <pc:spChg chg="mod">
          <ac:chgData name="Julie Campbell" userId="S::juliec@audienz.com::df5086f6-13ed-4e69-b43c-17720522b05d" providerId="AD" clId="Web-{171182D8-5E0F-C0C9-A2DC-99E8124F4E5D}" dt="2020-07-29T22:39:47.474" v="25" actId="20577"/>
          <ac:spMkLst>
            <pc:docMk/>
            <pc:sldMk cId="4067885522" sldId="270"/>
            <ac:spMk id="485" creationId="{87BE84E0-77A9-4A5E-8A52-2130B3858D05}"/>
          </ac:spMkLst>
        </pc:spChg>
        <pc:spChg chg="mod">
          <ac:chgData name="Julie Campbell" userId="S::juliec@audienz.com::df5086f6-13ed-4e69-b43c-17720522b05d" providerId="AD" clId="Web-{171182D8-5E0F-C0C9-A2DC-99E8124F4E5D}" dt="2020-07-29T22:39:47.662" v="26" actId="20577"/>
          <ac:spMkLst>
            <pc:docMk/>
            <pc:sldMk cId="4067885522" sldId="270"/>
            <ac:spMk id="486" creationId="{3FACEFA0-8F27-4DAB-A447-7088A62407E9}"/>
          </ac:spMkLst>
        </pc:spChg>
        <pc:spChg chg="mod">
          <ac:chgData name="Julie Campbell" userId="S::juliec@audienz.com::df5086f6-13ed-4e69-b43c-17720522b05d" providerId="AD" clId="Web-{171182D8-5E0F-C0C9-A2DC-99E8124F4E5D}" dt="2020-07-29T22:39:47.849" v="27" actId="20577"/>
          <ac:spMkLst>
            <pc:docMk/>
            <pc:sldMk cId="4067885522" sldId="270"/>
            <ac:spMk id="487" creationId="{083DAAEF-66DC-49CD-93E4-FD62E68486E7}"/>
          </ac:spMkLst>
        </pc:spChg>
        <pc:spChg chg="mod">
          <ac:chgData name="Julie Campbell" userId="S::juliec@audienz.com::df5086f6-13ed-4e69-b43c-17720522b05d" providerId="AD" clId="Web-{171182D8-5E0F-C0C9-A2DC-99E8124F4E5D}" dt="2020-07-29T22:39:48.037" v="28" actId="20577"/>
          <ac:spMkLst>
            <pc:docMk/>
            <pc:sldMk cId="4067885522" sldId="270"/>
            <ac:spMk id="488" creationId="{6AED9C8B-4A2B-4F40-AC08-6C14A24D79DF}"/>
          </ac:spMkLst>
        </pc:spChg>
        <pc:spChg chg="mod">
          <ac:chgData name="Julie Campbell" userId="S::juliec@audienz.com::df5086f6-13ed-4e69-b43c-17720522b05d" providerId="AD" clId="Web-{171182D8-5E0F-C0C9-A2DC-99E8124F4E5D}" dt="2020-07-29T22:39:48.224" v="29" actId="20577"/>
          <ac:spMkLst>
            <pc:docMk/>
            <pc:sldMk cId="4067885522" sldId="270"/>
            <ac:spMk id="489" creationId="{9ECE411A-3D76-4EC9-9981-CA0E25457056}"/>
          </ac:spMkLst>
        </pc:spChg>
        <pc:spChg chg="mod">
          <ac:chgData name="Julie Campbell" userId="S::juliec@audienz.com::df5086f6-13ed-4e69-b43c-17720522b05d" providerId="AD" clId="Web-{171182D8-5E0F-C0C9-A2DC-99E8124F4E5D}" dt="2020-07-29T22:40:09.756" v="128" actId="20577"/>
          <ac:spMkLst>
            <pc:docMk/>
            <pc:sldMk cId="4067885522" sldId="270"/>
            <ac:spMk id="491" creationId="{60797E6A-6E4A-4C08-B679-B65EC3121BAA}"/>
          </ac:spMkLst>
        </pc:spChg>
        <pc:spChg chg="mod">
          <ac:chgData name="Julie Campbell" userId="S::juliec@audienz.com::df5086f6-13ed-4e69-b43c-17720522b05d" providerId="AD" clId="Web-{171182D8-5E0F-C0C9-A2DC-99E8124F4E5D}" dt="2020-07-29T22:40:09.850" v="129" actId="20577"/>
          <ac:spMkLst>
            <pc:docMk/>
            <pc:sldMk cId="4067885522" sldId="270"/>
            <ac:spMk id="492" creationId="{1867F1C9-C8C7-40FE-8545-83F116D6DACE}"/>
          </ac:spMkLst>
        </pc:spChg>
        <pc:spChg chg="mod">
          <ac:chgData name="Julie Campbell" userId="S::juliec@audienz.com::df5086f6-13ed-4e69-b43c-17720522b05d" providerId="AD" clId="Web-{171182D8-5E0F-C0C9-A2DC-99E8124F4E5D}" dt="2020-07-29T22:40:09.943" v="130" actId="20577"/>
          <ac:spMkLst>
            <pc:docMk/>
            <pc:sldMk cId="4067885522" sldId="270"/>
            <ac:spMk id="493" creationId="{18D967DA-7CD5-4694-98CF-E9F7AF54F764}"/>
          </ac:spMkLst>
        </pc:spChg>
        <pc:spChg chg="mod">
          <ac:chgData name="Julie Campbell" userId="S::juliec@audienz.com::df5086f6-13ed-4e69-b43c-17720522b05d" providerId="AD" clId="Web-{171182D8-5E0F-C0C9-A2DC-99E8124F4E5D}" dt="2020-07-29T22:40:10.022" v="131" actId="20577"/>
          <ac:spMkLst>
            <pc:docMk/>
            <pc:sldMk cId="4067885522" sldId="270"/>
            <ac:spMk id="494" creationId="{C38187C0-6122-4982-A59B-A6B0C2DF6CE0}"/>
          </ac:spMkLst>
        </pc:spChg>
        <pc:spChg chg="mod">
          <ac:chgData name="Julie Campbell" userId="S::juliec@audienz.com::df5086f6-13ed-4e69-b43c-17720522b05d" providerId="AD" clId="Web-{171182D8-5E0F-C0C9-A2DC-99E8124F4E5D}" dt="2020-07-29T22:40:10.115" v="132" actId="20577"/>
          <ac:spMkLst>
            <pc:docMk/>
            <pc:sldMk cId="4067885522" sldId="270"/>
            <ac:spMk id="495" creationId="{3DFA985A-988D-495C-8A2D-2C2C75167901}"/>
          </ac:spMkLst>
        </pc:spChg>
        <pc:spChg chg="mod">
          <ac:chgData name="Julie Campbell" userId="S::juliec@audienz.com::df5086f6-13ed-4e69-b43c-17720522b05d" providerId="AD" clId="Web-{171182D8-5E0F-C0C9-A2DC-99E8124F4E5D}" dt="2020-07-29T22:40:10.209" v="133" actId="20577"/>
          <ac:spMkLst>
            <pc:docMk/>
            <pc:sldMk cId="4067885522" sldId="270"/>
            <ac:spMk id="496" creationId="{C8C33772-C245-49EA-B217-CBC5999A94B9}"/>
          </ac:spMkLst>
        </pc:spChg>
        <pc:spChg chg="mod">
          <ac:chgData name="Julie Campbell" userId="S::juliec@audienz.com::df5086f6-13ed-4e69-b43c-17720522b05d" providerId="AD" clId="Web-{171182D8-5E0F-C0C9-A2DC-99E8124F4E5D}" dt="2020-07-29T22:40:10.303" v="134" actId="20577"/>
          <ac:spMkLst>
            <pc:docMk/>
            <pc:sldMk cId="4067885522" sldId="270"/>
            <ac:spMk id="497" creationId="{53FADA4B-D687-4DB4-9494-4406FCC8F69F}"/>
          </ac:spMkLst>
        </pc:spChg>
        <pc:spChg chg="mod">
          <ac:chgData name="Julie Campbell" userId="S::juliec@audienz.com::df5086f6-13ed-4e69-b43c-17720522b05d" providerId="AD" clId="Web-{171182D8-5E0F-C0C9-A2DC-99E8124F4E5D}" dt="2020-07-29T22:40:10.412" v="135" actId="20577"/>
          <ac:spMkLst>
            <pc:docMk/>
            <pc:sldMk cId="4067885522" sldId="270"/>
            <ac:spMk id="498" creationId="{324B4302-91A4-4DA7-9E15-9B6EE02D5A27}"/>
          </ac:spMkLst>
        </pc:spChg>
        <pc:spChg chg="mod">
          <ac:chgData name="Julie Campbell" userId="S::juliec@audienz.com::df5086f6-13ed-4e69-b43c-17720522b05d" providerId="AD" clId="Web-{171182D8-5E0F-C0C9-A2DC-99E8124F4E5D}" dt="2020-07-29T22:40:10.506" v="136" actId="20577"/>
          <ac:spMkLst>
            <pc:docMk/>
            <pc:sldMk cId="4067885522" sldId="270"/>
            <ac:spMk id="499" creationId="{C233E9F6-8347-4163-B6EA-9CC32C4778C0}"/>
          </ac:spMkLst>
        </pc:spChg>
        <pc:spChg chg="mod">
          <ac:chgData name="Julie Campbell" userId="S::juliec@audienz.com::df5086f6-13ed-4e69-b43c-17720522b05d" providerId="AD" clId="Web-{171182D8-5E0F-C0C9-A2DC-99E8124F4E5D}" dt="2020-07-29T22:40:10.600" v="137" actId="20577"/>
          <ac:spMkLst>
            <pc:docMk/>
            <pc:sldMk cId="4067885522" sldId="270"/>
            <ac:spMk id="500" creationId="{C0BE83B6-9933-42AA-8C1C-79CF82526B04}"/>
          </ac:spMkLst>
        </pc:spChg>
        <pc:spChg chg="mod">
          <ac:chgData name="Julie Campbell" userId="S::juliec@audienz.com::df5086f6-13ed-4e69-b43c-17720522b05d" providerId="AD" clId="Web-{171182D8-5E0F-C0C9-A2DC-99E8124F4E5D}" dt="2020-07-29T22:40:10.678" v="138" actId="20577"/>
          <ac:spMkLst>
            <pc:docMk/>
            <pc:sldMk cId="4067885522" sldId="270"/>
            <ac:spMk id="501" creationId="{5A8FE997-5709-424C-8AD7-750664FE14A3}"/>
          </ac:spMkLst>
        </pc:spChg>
        <pc:spChg chg="mod">
          <ac:chgData name="Julie Campbell" userId="S::juliec@audienz.com::df5086f6-13ed-4e69-b43c-17720522b05d" providerId="AD" clId="Web-{171182D8-5E0F-C0C9-A2DC-99E8124F4E5D}" dt="2020-07-29T22:40:10.772" v="139" actId="20577"/>
          <ac:spMkLst>
            <pc:docMk/>
            <pc:sldMk cId="4067885522" sldId="270"/>
            <ac:spMk id="502" creationId="{0453557B-5C2C-42EC-85F4-B67765A9486C}"/>
          </ac:spMkLst>
        </pc:spChg>
        <pc:spChg chg="mod">
          <ac:chgData name="Julie Campbell" userId="S::juliec@audienz.com::df5086f6-13ed-4e69-b43c-17720522b05d" providerId="AD" clId="Web-{171182D8-5E0F-C0C9-A2DC-99E8124F4E5D}" dt="2020-07-29T22:40:10.865" v="140" actId="20577"/>
          <ac:spMkLst>
            <pc:docMk/>
            <pc:sldMk cId="4067885522" sldId="270"/>
            <ac:spMk id="503" creationId="{A12B75BD-EF1B-42AB-A587-D536F58083CC}"/>
          </ac:spMkLst>
        </pc:spChg>
        <pc:spChg chg="mod">
          <ac:chgData name="Julie Campbell" userId="S::juliec@audienz.com::df5086f6-13ed-4e69-b43c-17720522b05d" providerId="AD" clId="Web-{171182D8-5E0F-C0C9-A2DC-99E8124F4E5D}" dt="2020-07-29T22:40:10.959" v="141" actId="20577"/>
          <ac:spMkLst>
            <pc:docMk/>
            <pc:sldMk cId="4067885522" sldId="270"/>
            <ac:spMk id="504" creationId="{2E2902BC-DDC6-4E2B-8751-6125B575E3BF}"/>
          </ac:spMkLst>
        </pc:spChg>
        <pc:spChg chg="mod">
          <ac:chgData name="Julie Campbell" userId="S::juliec@audienz.com::df5086f6-13ed-4e69-b43c-17720522b05d" providerId="AD" clId="Web-{171182D8-5E0F-C0C9-A2DC-99E8124F4E5D}" dt="2020-07-29T22:40:11.053" v="142" actId="20577"/>
          <ac:spMkLst>
            <pc:docMk/>
            <pc:sldMk cId="4067885522" sldId="270"/>
            <ac:spMk id="505" creationId="{B0D50BE0-6CB4-4B15-8B42-B040C9C2093B}"/>
          </ac:spMkLst>
        </pc:spChg>
        <pc:spChg chg="mod">
          <ac:chgData name="Julie Campbell" userId="S::juliec@audienz.com::df5086f6-13ed-4e69-b43c-17720522b05d" providerId="AD" clId="Web-{171182D8-5E0F-C0C9-A2DC-99E8124F4E5D}" dt="2020-07-29T22:40:11.147" v="143" actId="20577"/>
          <ac:spMkLst>
            <pc:docMk/>
            <pc:sldMk cId="4067885522" sldId="270"/>
            <ac:spMk id="506" creationId="{0FDF4185-2A48-47A5-BD34-60E94CF18C46}"/>
          </ac:spMkLst>
        </pc:spChg>
        <pc:spChg chg="mod">
          <ac:chgData name="Julie Campbell" userId="S::juliec@audienz.com::df5086f6-13ed-4e69-b43c-17720522b05d" providerId="AD" clId="Web-{171182D8-5E0F-C0C9-A2DC-99E8124F4E5D}" dt="2020-07-29T22:40:11.240" v="144" actId="20577"/>
          <ac:spMkLst>
            <pc:docMk/>
            <pc:sldMk cId="4067885522" sldId="270"/>
            <ac:spMk id="507" creationId="{DC6CAFF5-F5C3-4CBE-8C4E-2BA732ADF6DD}"/>
          </ac:spMkLst>
        </pc:spChg>
        <pc:spChg chg="mod">
          <ac:chgData name="Julie Campbell" userId="S::juliec@audienz.com::df5086f6-13ed-4e69-b43c-17720522b05d" providerId="AD" clId="Web-{171182D8-5E0F-C0C9-A2DC-99E8124F4E5D}" dt="2020-07-29T22:40:11.334" v="145" actId="20577"/>
          <ac:spMkLst>
            <pc:docMk/>
            <pc:sldMk cId="4067885522" sldId="270"/>
            <ac:spMk id="508" creationId="{DA8DC7F4-A662-4F76-8753-0782BE729318}"/>
          </ac:spMkLst>
        </pc:spChg>
        <pc:spChg chg="mod">
          <ac:chgData name="Julie Campbell" userId="S::juliec@audienz.com::df5086f6-13ed-4e69-b43c-17720522b05d" providerId="AD" clId="Web-{171182D8-5E0F-C0C9-A2DC-99E8124F4E5D}" dt="2020-07-29T22:40:11.428" v="146" actId="20577"/>
          <ac:spMkLst>
            <pc:docMk/>
            <pc:sldMk cId="4067885522" sldId="270"/>
            <ac:spMk id="509" creationId="{219687D8-C83A-435D-A775-802E99C1CEA3}"/>
          </ac:spMkLst>
        </pc:spChg>
        <pc:spChg chg="mod">
          <ac:chgData name="Julie Campbell" userId="S::juliec@audienz.com::df5086f6-13ed-4e69-b43c-17720522b05d" providerId="AD" clId="Web-{171182D8-5E0F-C0C9-A2DC-99E8124F4E5D}" dt="2020-07-29T22:40:11.537" v="147" actId="20577"/>
          <ac:spMkLst>
            <pc:docMk/>
            <pc:sldMk cId="4067885522" sldId="270"/>
            <ac:spMk id="510" creationId="{2F8681A8-AF95-4354-A228-E1BF99315D79}"/>
          </ac:spMkLst>
        </pc:spChg>
        <pc:spChg chg="mod">
          <ac:chgData name="Julie Campbell" userId="S::juliec@audienz.com::df5086f6-13ed-4e69-b43c-17720522b05d" providerId="AD" clId="Web-{171182D8-5E0F-C0C9-A2DC-99E8124F4E5D}" dt="2020-07-29T22:40:11.631" v="148" actId="20577"/>
          <ac:spMkLst>
            <pc:docMk/>
            <pc:sldMk cId="4067885522" sldId="270"/>
            <ac:spMk id="511" creationId="{855D32F4-CF28-4642-BFA9-5859E3A6C0C5}"/>
          </ac:spMkLst>
        </pc:spChg>
        <pc:spChg chg="mod">
          <ac:chgData name="Julie Campbell" userId="S::juliec@audienz.com::df5086f6-13ed-4e69-b43c-17720522b05d" providerId="AD" clId="Web-{171182D8-5E0F-C0C9-A2DC-99E8124F4E5D}" dt="2020-07-29T22:40:11.725" v="149" actId="20577"/>
          <ac:spMkLst>
            <pc:docMk/>
            <pc:sldMk cId="4067885522" sldId="270"/>
            <ac:spMk id="512" creationId="{741FECFE-AC8F-427E-91F8-A0BE2D1E93A6}"/>
          </ac:spMkLst>
        </pc:spChg>
        <pc:spChg chg="mod">
          <ac:chgData name="Julie Campbell" userId="S::juliec@audienz.com::df5086f6-13ed-4e69-b43c-17720522b05d" providerId="AD" clId="Web-{171182D8-5E0F-C0C9-A2DC-99E8124F4E5D}" dt="2020-07-29T22:40:11.819" v="150" actId="20577"/>
          <ac:spMkLst>
            <pc:docMk/>
            <pc:sldMk cId="4067885522" sldId="270"/>
            <ac:spMk id="513" creationId="{0C836734-FA6D-4E8C-9816-DA4F032638D0}"/>
          </ac:spMkLst>
        </pc:spChg>
        <pc:spChg chg="mod">
          <ac:chgData name="Julie Campbell" userId="S::juliec@audienz.com::df5086f6-13ed-4e69-b43c-17720522b05d" providerId="AD" clId="Web-{171182D8-5E0F-C0C9-A2DC-99E8124F4E5D}" dt="2020-07-29T22:40:11.897" v="151" actId="20577"/>
          <ac:spMkLst>
            <pc:docMk/>
            <pc:sldMk cId="4067885522" sldId="270"/>
            <ac:spMk id="514" creationId="{809F5FEE-B09F-4824-AC0E-9A3C19A2470D}"/>
          </ac:spMkLst>
        </pc:spChg>
        <pc:spChg chg="mod">
          <ac:chgData name="Julie Campbell" userId="S::juliec@audienz.com::df5086f6-13ed-4e69-b43c-17720522b05d" providerId="AD" clId="Web-{171182D8-5E0F-C0C9-A2DC-99E8124F4E5D}" dt="2020-07-29T22:40:11.990" v="152" actId="20577"/>
          <ac:spMkLst>
            <pc:docMk/>
            <pc:sldMk cId="4067885522" sldId="270"/>
            <ac:spMk id="515" creationId="{5AF2E1A5-5F16-4E59-A201-FB234BF9C601}"/>
          </ac:spMkLst>
        </pc:spChg>
        <pc:spChg chg="mod">
          <ac:chgData name="Julie Campbell" userId="S::juliec@audienz.com::df5086f6-13ed-4e69-b43c-17720522b05d" providerId="AD" clId="Web-{171182D8-5E0F-C0C9-A2DC-99E8124F4E5D}" dt="2020-07-29T22:40:12.084" v="153" actId="20577"/>
          <ac:spMkLst>
            <pc:docMk/>
            <pc:sldMk cId="4067885522" sldId="270"/>
            <ac:spMk id="516" creationId="{E599365A-95C3-4EF9-BC83-DFC839D3C0BE}"/>
          </ac:spMkLst>
        </pc:spChg>
        <pc:spChg chg="mod">
          <ac:chgData name="Julie Campbell" userId="S::juliec@audienz.com::df5086f6-13ed-4e69-b43c-17720522b05d" providerId="AD" clId="Web-{171182D8-5E0F-C0C9-A2DC-99E8124F4E5D}" dt="2020-07-29T22:40:12.178" v="154" actId="20577"/>
          <ac:spMkLst>
            <pc:docMk/>
            <pc:sldMk cId="4067885522" sldId="270"/>
            <ac:spMk id="517" creationId="{3992C220-4606-45A6-BD29-9B2ECB642182}"/>
          </ac:spMkLst>
        </pc:spChg>
        <pc:spChg chg="mod">
          <ac:chgData name="Julie Campbell" userId="S::juliec@audienz.com::df5086f6-13ed-4e69-b43c-17720522b05d" providerId="AD" clId="Web-{171182D8-5E0F-C0C9-A2DC-99E8124F4E5D}" dt="2020-07-29T22:40:12.256" v="155" actId="20577"/>
          <ac:spMkLst>
            <pc:docMk/>
            <pc:sldMk cId="4067885522" sldId="270"/>
            <ac:spMk id="518" creationId="{FF360362-6471-4943-9F83-C7AC396D5A55}"/>
          </ac:spMkLst>
        </pc:spChg>
        <pc:spChg chg="mod">
          <ac:chgData name="Julie Campbell" userId="S::juliec@audienz.com::df5086f6-13ed-4e69-b43c-17720522b05d" providerId="AD" clId="Web-{171182D8-5E0F-C0C9-A2DC-99E8124F4E5D}" dt="2020-07-29T22:40:12.350" v="156" actId="20577"/>
          <ac:spMkLst>
            <pc:docMk/>
            <pc:sldMk cId="4067885522" sldId="270"/>
            <ac:spMk id="519" creationId="{D184BEA6-AE4F-4BD2-8DBC-834FCBFB1571}"/>
          </ac:spMkLst>
        </pc:spChg>
        <pc:spChg chg="mod">
          <ac:chgData name="Julie Campbell" userId="S::juliec@audienz.com::df5086f6-13ed-4e69-b43c-17720522b05d" providerId="AD" clId="Web-{171182D8-5E0F-C0C9-A2DC-99E8124F4E5D}" dt="2020-07-29T22:40:12.428" v="157" actId="20577"/>
          <ac:spMkLst>
            <pc:docMk/>
            <pc:sldMk cId="4067885522" sldId="270"/>
            <ac:spMk id="520" creationId="{6E94F15C-9B20-434F-BA8B-3AE53A6FB189}"/>
          </ac:spMkLst>
        </pc:spChg>
        <pc:spChg chg="mod">
          <ac:chgData name="Julie Campbell" userId="S::juliec@audienz.com::df5086f6-13ed-4e69-b43c-17720522b05d" providerId="AD" clId="Web-{171182D8-5E0F-C0C9-A2DC-99E8124F4E5D}" dt="2020-07-29T22:40:12.522" v="158" actId="20577"/>
          <ac:spMkLst>
            <pc:docMk/>
            <pc:sldMk cId="4067885522" sldId="270"/>
            <ac:spMk id="521" creationId="{6D240FC1-C827-4E6C-BC12-2EEA4A0FDF61}"/>
          </ac:spMkLst>
        </pc:spChg>
        <pc:spChg chg="mod">
          <ac:chgData name="Julie Campbell" userId="S::juliec@audienz.com::df5086f6-13ed-4e69-b43c-17720522b05d" providerId="AD" clId="Web-{171182D8-5E0F-C0C9-A2DC-99E8124F4E5D}" dt="2020-07-29T22:40:12.600" v="159" actId="20577"/>
          <ac:spMkLst>
            <pc:docMk/>
            <pc:sldMk cId="4067885522" sldId="270"/>
            <ac:spMk id="522" creationId="{72D45A99-FD1E-4ADA-804B-56AA4435FE62}"/>
          </ac:spMkLst>
        </pc:spChg>
        <pc:spChg chg="mod">
          <ac:chgData name="Julie Campbell" userId="S::juliec@audienz.com::df5086f6-13ed-4e69-b43c-17720522b05d" providerId="AD" clId="Web-{171182D8-5E0F-C0C9-A2DC-99E8124F4E5D}" dt="2020-07-29T22:40:12.694" v="160" actId="20577"/>
          <ac:spMkLst>
            <pc:docMk/>
            <pc:sldMk cId="4067885522" sldId="270"/>
            <ac:spMk id="523" creationId="{3879B669-97B8-45E2-9AE9-4FE0CA5130B3}"/>
          </ac:spMkLst>
        </pc:spChg>
        <pc:spChg chg="mod">
          <ac:chgData name="Julie Campbell" userId="S::juliec@audienz.com::df5086f6-13ed-4e69-b43c-17720522b05d" providerId="AD" clId="Web-{171182D8-5E0F-C0C9-A2DC-99E8124F4E5D}" dt="2020-07-29T22:40:12.709" v="162" actId="20577"/>
          <ac:spMkLst>
            <pc:docMk/>
            <pc:sldMk cId="4067885522" sldId="270"/>
            <ac:spMk id="524" creationId="{63501302-7332-44A2-A2FB-46BF5BC94B34}"/>
          </ac:spMkLst>
        </pc:spChg>
      </pc:sldChg>
      <pc:sldChg chg="modSp delCm">
        <pc:chgData name="Julie Campbell" userId="S::juliec@audienz.com::df5086f6-13ed-4e69-b43c-17720522b05d" providerId="AD" clId="Web-{171182D8-5E0F-C0C9-A2DC-99E8124F4E5D}" dt="2020-07-29T22:46:09.467" v="391" actId="20577"/>
        <pc:sldMkLst>
          <pc:docMk/>
          <pc:sldMk cId="3350795843" sldId="272"/>
        </pc:sldMkLst>
        <pc:spChg chg="mod">
          <ac:chgData name="Julie Campbell" userId="S::juliec@audienz.com::df5086f6-13ed-4e69-b43c-17720522b05d" providerId="AD" clId="Web-{171182D8-5E0F-C0C9-A2DC-99E8124F4E5D}" dt="2020-07-29T22:46:09.092" v="386" actId="20577"/>
          <ac:spMkLst>
            <pc:docMk/>
            <pc:sldMk cId="3350795843" sldId="272"/>
            <ac:spMk id="4" creationId="{FF7B809F-E0D3-4566-A3A2-28A817F0CCEC}"/>
          </ac:spMkLst>
        </pc:spChg>
        <pc:spChg chg="mod">
          <ac:chgData name="Julie Campbell" userId="S::juliec@audienz.com::df5086f6-13ed-4e69-b43c-17720522b05d" providerId="AD" clId="Web-{171182D8-5E0F-C0C9-A2DC-99E8124F4E5D}" dt="2020-07-29T22:46:08.748" v="380" actId="20577"/>
          <ac:spMkLst>
            <pc:docMk/>
            <pc:sldMk cId="3350795843" sldId="272"/>
            <ac:spMk id="12" creationId="{1431EA74-6FCF-492C-B63A-F6D914CE06CB}"/>
          </ac:spMkLst>
        </pc:spChg>
        <pc:spChg chg="mod">
          <ac:chgData name="Julie Campbell" userId="S::juliec@audienz.com::df5086f6-13ed-4e69-b43c-17720522b05d" providerId="AD" clId="Web-{171182D8-5E0F-C0C9-A2DC-99E8124F4E5D}" dt="2020-07-29T22:46:08.842" v="381" actId="20577"/>
          <ac:spMkLst>
            <pc:docMk/>
            <pc:sldMk cId="3350795843" sldId="272"/>
            <ac:spMk id="13" creationId="{0B1853E5-CE33-445F-88E3-586ED7D0761C}"/>
          </ac:spMkLst>
        </pc:spChg>
        <pc:spChg chg="mod">
          <ac:chgData name="Julie Campbell" userId="S::juliec@audienz.com::df5086f6-13ed-4e69-b43c-17720522b05d" providerId="AD" clId="Web-{171182D8-5E0F-C0C9-A2DC-99E8124F4E5D}" dt="2020-07-29T22:46:08.920" v="382" actId="20577"/>
          <ac:spMkLst>
            <pc:docMk/>
            <pc:sldMk cId="3350795843" sldId="272"/>
            <ac:spMk id="15" creationId="{3F0CCFF9-62EC-4AAE-BBDE-2F7EC0C33607}"/>
          </ac:spMkLst>
        </pc:spChg>
        <pc:spChg chg="mod">
          <ac:chgData name="Julie Campbell" userId="S::juliec@audienz.com::df5086f6-13ed-4e69-b43c-17720522b05d" providerId="AD" clId="Web-{171182D8-5E0F-C0C9-A2DC-99E8124F4E5D}" dt="2020-07-29T22:46:09.436" v="389" actId="20577"/>
          <ac:spMkLst>
            <pc:docMk/>
            <pc:sldMk cId="3350795843" sldId="272"/>
            <ac:spMk id="16" creationId="{C6C8C4A3-1879-4F4B-BE28-8383E906A5E4}"/>
          </ac:spMkLst>
        </pc:spChg>
        <pc:spChg chg="mod">
          <ac:chgData name="Julie Campbell" userId="S::juliec@audienz.com::df5086f6-13ed-4e69-b43c-17720522b05d" providerId="AD" clId="Web-{171182D8-5E0F-C0C9-A2DC-99E8124F4E5D}" dt="2020-07-29T22:46:08.998" v="383" actId="20577"/>
          <ac:spMkLst>
            <pc:docMk/>
            <pc:sldMk cId="3350795843" sldId="272"/>
            <ac:spMk id="17" creationId="{D929444F-D156-4F99-9EBF-5286506120FB}"/>
          </ac:spMkLst>
        </pc:spChg>
        <pc:spChg chg="mod">
          <ac:chgData name="Julie Campbell" userId="S::juliec@audienz.com::df5086f6-13ed-4e69-b43c-17720522b05d" providerId="AD" clId="Web-{171182D8-5E0F-C0C9-A2DC-99E8124F4E5D}" dt="2020-07-29T22:46:09.451" v="390" actId="20577"/>
          <ac:spMkLst>
            <pc:docMk/>
            <pc:sldMk cId="3350795843" sldId="272"/>
            <ac:spMk id="18" creationId="{7EF4A6A2-DB24-4A2C-92CD-DB2BE5AAD697}"/>
          </ac:spMkLst>
        </pc:spChg>
        <pc:spChg chg="mod">
          <ac:chgData name="Julie Campbell" userId="S::juliec@audienz.com::df5086f6-13ed-4e69-b43c-17720522b05d" providerId="AD" clId="Web-{171182D8-5E0F-C0C9-A2DC-99E8124F4E5D}" dt="2020-07-29T22:46:09.092" v="385" actId="20577"/>
          <ac:spMkLst>
            <pc:docMk/>
            <pc:sldMk cId="3350795843" sldId="272"/>
            <ac:spMk id="19" creationId="{AAA7AD9F-55BE-4C68-A5C9-BCF30CCEE9C6}"/>
          </ac:spMkLst>
        </pc:spChg>
        <pc:spChg chg="mod">
          <ac:chgData name="Julie Campbell" userId="S::juliec@audienz.com::df5086f6-13ed-4e69-b43c-17720522b05d" providerId="AD" clId="Web-{171182D8-5E0F-C0C9-A2DC-99E8124F4E5D}" dt="2020-07-29T22:46:09.108" v="388" actId="20577"/>
          <ac:spMkLst>
            <pc:docMk/>
            <pc:sldMk cId="3350795843" sldId="272"/>
            <ac:spMk id="20" creationId="{4CF1A352-8233-406C-9DD3-03D74B9AE375}"/>
          </ac:spMkLst>
        </pc:spChg>
        <pc:spChg chg="mod">
          <ac:chgData name="Julie Campbell" userId="S::juliec@audienz.com::df5086f6-13ed-4e69-b43c-17720522b05d" providerId="AD" clId="Web-{171182D8-5E0F-C0C9-A2DC-99E8124F4E5D}" dt="2020-07-29T22:46:09.467" v="391" actId="20577"/>
          <ac:spMkLst>
            <pc:docMk/>
            <pc:sldMk cId="3350795843" sldId="272"/>
            <ac:spMk id="25" creationId="{DDD8AFF3-DE0A-44A1-8CE1-E48708588845}"/>
          </ac:spMkLst>
        </pc:spChg>
      </pc:sldChg>
      <pc:sldChg chg="modSp">
        <pc:chgData name="Julie Campbell" userId="S::juliec@audienz.com::df5086f6-13ed-4e69-b43c-17720522b05d" providerId="AD" clId="Web-{171182D8-5E0F-C0C9-A2DC-99E8124F4E5D}" dt="2020-07-29T22:43:33.776" v="238" actId="20577"/>
        <pc:sldMkLst>
          <pc:docMk/>
          <pc:sldMk cId="2617117329" sldId="273"/>
        </pc:sldMkLst>
        <pc:spChg chg="mod">
          <ac:chgData name="Julie Campbell" userId="S::juliec@audienz.com::df5086f6-13ed-4e69-b43c-17720522b05d" providerId="AD" clId="Web-{171182D8-5E0F-C0C9-A2DC-99E8124F4E5D}" dt="2020-07-29T22:43:33.370" v="232" actId="20577"/>
          <ac:spMkLst>
            <pc:docMk/>
            <pc:sldMk cId="2617117329" sldId="273"/>
            <ac:spMk id="3" creationId="{ECC04A6A-384F-418F-BA54-C9A3143BE2A0}"/>
          </ac:spMkLst>
        </pc:spChg>
        <pc:spChg chg="mod">
          <ac:chgData name="Julie Campbell" userId="S::juliec@audienz.com::df5086f6-13ed-4e69-b43c-17720522b05d" providerId="AD" clId="Web-{171182D8-5E0F-C0C9-A2DC-99E8124F4E5D}" dt="2020-07-29T22:43:33.057" v="227" actId="20577"/>
          <ac:spMkLst>
            <pc:docMk/>
            <pc:sldMk cId="2617117329" sldId="273"/>
            <ac:spMk id="12" creationId="{14647407-896F-488D-9A27-8A809659ECC0}"/>
          </ac:spMkLst>
        </pc:spChg>
        <pc:spChg chg="mod">
          <ac:chgData name="Julie Campbell" userId="S::juliec@audienz.com::df5086f6-13ed-4e69-b43c-17720522b05d" providerId="AD" clId="Web-{171182D8-5E0F-C0C9-A2DC-99E8124F4E5D}" dt="2020-07-29T22:43:33.135" v="228" actId="20577"/>
          <ac:spMkLst>
            <pc:docMk/>
            <pc:sldMk cId="2617117329" sldId="273"/>
            <ac:spMk id="13" creationId="{1408CB7B-DAD9-4E2D-82C6-CB93B25BCD0E}"/>
          </ac:spMkLst>
        </pc:spChg>
        <pc:spChg chg="mod">
          <ac:chgData name="Julie Campbell" userId="S::juliec@audienz.com::df5086f6-13ed-4e69-b43c-17720522b05d" providerId="AD" clId="Web-{171182D8-5E0F-C0C9-A2DC-99E8124F4E5D}" dt="2020-07-29T22:43:33.214" v="229" actId="20577"/>
          <ac:spMkLst>
            <pc:docMk/>
            <pc:sldMk cId="2617117329" sldId="273"/>
            <ac:spMk id="14" creationId="{CA27FB83-2208-42CD-B502-95D6017D5B57}"/>
          </ac:spMkLst>
        </pc:spChg>
        <pc:spChg chg="mod">
          <ac:chgData name="Julie Campbell" userId="S::juliec@audienz.com::df5086f6-13ed-4e69-b43c-17720522b05d" providerId="AD" clId="Web-{171182D8-5E0F-C0C9-A2DC-99E8124F4E5D}" dt="2020-07-29T22:43:33.292" v="230" actId="20577"/>
          <ac:spMkLst>
            <pc:docMk/>
            <pc:sldMk cId="2617117329" sldId="273"/>
            <ac:spMk id="16" creationId="{970BD1C3-951E-423A-AC46-56FD77E41832}"/>
          </ac:spMkLst>
        </pc:spChg>
        <pc:spChg chg="mod">
          <ac:chgData name="Julie Campbell" userId="S::juliec@audienz.com::df5086f6-13ed-4e69-b43c-17720522b05d" providerId="AD" clId="Web-{171182D8-5E0F-C0C9-A2DC-99E8124F4E5D}" dt="2020-07-29T22:43:33.745" v="235" actId="20577"/>
          <ac:spMkLst>
            <pc:docMk/>
            <pc:sldMk cId="2617117329" sldId="273"/>
            <ac:spMk id="17" creationId="{1F5AA7CE-9F36-4A88-A9F5-0124B1FD1161}"/>
          </ac:spMkLst>
        </pc:spChg>
        <pc:spChg chg="mod">
          <ac:chgData name="Julie Campbell" userId="S::juliec@audienz.com::df5086f6-13ed-4e69-b43c-17720522b05d" providerId="AD" clId="Web-{171182D8-5E0F-C0C9-A2DC-99E8124F4E5D}" dt="2020-07-29T22:43:33.760" v="236" actId="20577"/>
          <ac:spMkLst>
            <pc:docMk/>
            <pc:sldMk cId="2617117329" sldId="273"/>
            <ac:spMk id="18" creationId="{632FB9BB-A07D-4DF0-95C0-39691436EA39}"/>
          </ac:spMkLst>
        </pc:spChg>
        <pc:spChg chg="mod">
          <ac:chgData name="Julie Campbell" userId="S::juliec@audienz.com::df5086f6-13ed-4e69-b43c-17720522b05d" providerId="AD" clId="Web-{171182D8-5E0F-C0C9-A2DC-99E8124F4E5D}" dt="2020-07-29T22:43:33.776" v="237" actId="20577"/>
          <ac:spMkLst>
            <pc:docMk/>
            <pc:sldMk cId="2617117329" sldId="273"/>
            <ac:spMk id="19" creationId="{0CB5EB41-8F6F-4216-9602-C890222B2CAC}"/>
          </ac:spMkLst>
        </pc:spChg>
        <pc:spChg chg="mod">
          <ac:chgData name="Julie Campbell" userId="S::juliec@audienz.com::df5086f6-13ed-4e69-b43c-17720522b05d" providerId="AD" clId="Web-{171182D8-5E0F-C0C9-A2DC-99E8124F4E5D}" dt="2020-07-29T22:43:33.385" v="234" actId="20577"/>
          <ac:spMkLst>
            <pc:docMk/>
            <pc:sldMk cId="2617117329" sldId="273"/>
            <ac:spMk id="27" creationId="{AA065BDB-9644-4FA4-8B8F-3A5A3BDEC68D}"/>
          </ac:spMkLst>
        </pc:spChg>
        <pc:spChg chg="mod">
          <ac:chgData name="Julie Campbell" userId="S::juliec@audienz.com::df5086f6-13ed-4e69-b43c-17720522b05d" providerId="AD" clId="Web-{171182D8-5E0F-C0C9-A2DC-99E8124F4E5D}" dt="2020-07-29T22:43:33.776" v="238" actId="20577"/>
          <ac:spMkLst>
            <pc:docMk/>
            <pc:sldMk cId="2617117329" sldId="273"/>
            <ac:spMk id="29" creationId="{BC3D5174-590E-4E67-BEFE-B583E6E4C592}"/>
          </ac:spMkLst>
        </pc:spChg>
      </pc:sldChg>
      <pc:sldChg chg="delCm">
        <pc:chgData name="Julie Campbell" userId="S::juliec@audienz.com::df5086f6-13ed-4e69-b43c-17720522b05d" providerId="AD" clId="Web-{171182D8-5E0F-C0C9-A2DC-99E8124F4E5D}" dt="2020-07-29T22:45:49.935" v="378"/>
        <pc:sldMkLst>
          <pc:docMk/>
          <pc:sldMk cId="1543140450" sldId="274"/>
        </pc:sldMkLst>
      </pc:sldChg>
      <pc:sldChg chg="modSp">
        <pc:chgData name="Julie Campbell" userId="S::juliec@audienz.com::df5086f6-13ed-4e69-b43c-17720522b05d" providerId="AD" clId="Web-{171182D8-5E0F-C0C9-A2DC-99E8124F4E5D}" dt="2020-07-29T22:46:15.045" v="473" actId="20577"/>
        <pc:sldMkLst>
          <pc:docMk/>
          <pc:sldMk cId="1974128877" sldId="276"/>
        </pc:sldMkLst>
        <pc:spChg chg="mod">
          <ac:chgData name="Julie Campbell" userId="S::juliec@audienz.com::df5086f6-13ed-4e69-b43c-17720522b05d" providerId="AD" clId="Web-{171182D8-5E0F-C0C9-A2DC-99E8124F4E5D}" dt="2020-07-29T22:46:14.014" v="393" actId="20577"/>
          <ac:spMkLst>
            <pc:docMk/>
            <pc:sldMk cId="1974128877" sldId="276"/>
            <ac:spMk id="2" creationId="{00788277-D929-4930-9588-1D09BB6034C0}"/>
          </ac:spMkLst>
        </pc:spChg>
        <pc:spChg chg="mod">
          <ac:chgData name="Julie Campbell" userId="S::juliec@audienz.com::df5086f6-13ed-4e69-b43c-17720522b05d" providerId="AD" clId="Web-{171182D8-5E0F-C0C9-A2DC-99E8124F4E5D}" dt="2020-07-29T22:46:14.139" v="405" actId="20577"/>
          <ac:spMkLst>
            <pc:docMk/>
            <pc:sldMk cId="1974128877" sldId="276"/>
            <ac:spMk id="6" creationId="{8EAE78FE-179C-40CA-AF28-AE02D16A394A}"/>
          </ac:spMkLst>
        </pc:spChg>
        <pc:spChg chg="mod">
          <ac:chgData name="Julie Campbell" userId="S::juliec@audienz.com::df5086f6-13ed-4e69-b43c-17720522b05d" providerId="AD" clId="Web-{171182D8-5E0F-C0C9-A2DC-99E8124F4E5D}" dt="2020-07-29T22:46:15.030" v="472" actId="20577"/>
          <ac:spMkLst>
            <pc:docMk/>
            <pc:sldMk cId="1974128877" sldId="276"/>
            <ac:spMk id="17" creationId="{284DCCA5-62DF-4C48-8037-B6C837E67E27}"/>
          </ac:spMkLst>
        </pc:spChg>
        <pc:spChg chg="mod">
          <ac:chgData name="Julie Campbell" userId="S::juliec@audienz.com::df5086f6-13ed-4e69-b43c-17720522b05d" providerId="AD" clId="Web-{171182D8-5E0F-C0C9-A2DC-99E8124F4E5D}" dt="2020-07-29T22:46:14.030" v="395" actId="20577"/>
          <ac:spMkLst>
            <pc:docMk/>
            <pc:sldMk cId="1974128877" sldId="276"/>
            <ac:spMk id="92" creationId="{8E1C13D8-53F1-4D4F-9B6C-C10F9D6E633A}"/>
          </ac:spMkLst>
        </pc:spChg>
        <pc:spChg chg="mod">
          <ac:chgData name="Julie Campbell" userId="S::juliec@audienz.com::df5086f6-13ed-4e69-b43c-17720522b05d" providerId="AD" clId="Web-{171182D8-5E0F-C0C9-A2DC-99E8124F4E5D}" dt="2020-07-29T22:46:14.873" v="463" actId="20577"/>
          <ac:spMkLst>
            <pc:docMk/>
            <pc:sldMk cId="1974128877" sldId="276"/>
            <ac:spMk id="93" creationId="{CA85B23C-2BEC-452B-AF55-B171385BC4D3}"/>
          </ac:spMkLst>
        </pc:spChg>
        <pc:spChg chg="mod">
          <ac:chgData name="Julie Campbell" userId="S::juliec@audienz.com::df5086f6-13ed-4e69-b43c-17720522b05d" providerId="AD" clId="Web-{171182D8-5E0F-C0C9-A2DC-99E8124F4E5D}" dt="2020-07-29T22:46:14.889" v="464" actId="20577"/>
          <ac:spMkLst>
            <pc:docMk/>
            <pc:sldMk cId="1974128877" sldId="276"/>
            <ac:spMk id="94" creationId="{1CBE9970-BC49-4095-A92F-1418375B9BF7}"/>
          </ac:spMkLst>
        </pc:spChg>
        <pc:spChg chg="mod">
          <ac:chgData name="Julie Campbell" userId="S::juliec@audienz.com::df5086f6-13ed-4e69-b43c-17720522b05d" providerId="AD" clId="Web-{171182D8-5E0F-C0C9-A2DC-99E8124F4E5D}" dt="2020-07-29T22:46:14.264" v="415" actId="20577"/>
          <ac:spMkLst>
            <pc:docMk/>
            <pc:sldMk cId="1974128877" sldId="276"/>
            <ac:spMk id="97" creationId="{0D2FADBD-129B-4ACE-B6D1-FA1479AD02EA}"/>
          </ac:spMkLst>
        </pc:spChg>
        <pc:spChg chg="mod">
          <ac:chgData name="Julie Campbell" userId="S::juliec@audienz.com::df5086f6-13ed-4e69-b43c-17720522b05d" providerId="AD" clId="Web-{171182D8-5E0F-C0C9-A2DC-99E8124F4E5D}" dt="2020-07-29T22:46:14.280" v="416" actId="20577"/>
          <ac:spMkLst>
            <pc:docMk/>
            <pc:sldMk cId="1974128877" sldId="276"/>
            <ac:spMk id="98" creationId="{76EC381E-75E7-44E8-93B6-BAE013466BE3}"/>
          </ac:spMkLst>
        </pc:spChg>
        <pc:spChg chg="mod">
          <ac:chgData name="Julie Campbell" userId="S::juliec@audienz.com::df5086f6-13ed-4e69-b43c-17720522b05d" providerId="AD" clId="Web-{171182D8-5E0F-C0C9-A2DC-99E8124F4E5D}" dt="2020-07-29T22:46:14.295" v="417" actId="20577"/>
          <ac:spMkLst>
            <pc:docMk/>
            <pc:sldMk cId="1974128877" sldId="276"/>
            <ac:spMk id="101" creationId="{70086F6F-17E9-4998-93DD-95C0EEAA56AB}"/>
          </ac:spMkLst>
        </pc:spChg>
        <pc:spChg chg="mod">
          <ac:chgData name="Julie Campbell" userId="S::juliec@audienz.com::df5086f6-13ed-4e69-b43c-17720522b05d" providerId="AD" clId="Web-{171182D8-5E0F-C0C9-A2DC-99E8124F4E5D}" dt="2020-07-29T22:46:14.311" v="418" actId="20577"/>
          <ac:spMkLst>
            <pc:docMk/>
            <pc:sldMk cId="1974128877" sldId="276"/>
            <ac:spMk id="102" creationId="{A5CF7830-33F2-40F1-A9C2-2D2F4186B2DA}"/>
          </ac:spMkLst>
        </pc:spChg>
        <pc:spChg chg="mod">
          <ac:chgData name="Julie Campbell" userId="S::juliec@audienz.com::df5086f6-13ed-4e69-b43c-17720522b05d" providerId="AD" clId="Web-{171182D8-5E0F-C0C9-A2DC-99E8124F4E5D}" dt="2020-07-29T22:46:14.155" v="407" actId="20577"/>
          <ac:spMkLst>
            <pc:docMk/>
            <pc:sldMk cId="1974128877" sldId="276"/>
            <ac:spMk id="106" creationId="{98E5C8A8-3D1B-4B8C-A813-1E203B587155}"/>
          </ac:spMkLst>
        </pc:spChg>
        <pc:spChg chg="mod">
          <ac:chgData name="Julie Campbell" userId="S::juliec@audienz.com::df5086f6-13ed-4e69-b43c-17720522b05d" providerId="AD" clId="Web-{171182D8-5E0F-C0C9-A2DC-99E8124F4E5D}" dt="2020-07-29T22:46:14.170" v="409" actId="20577"/>
          <ac:spMkLst>
            <pc:docMk/>
            <pc:sldMk cId="1974128877" sldId="276"/>
            <ac:spMk id="107" creationId="{59079636-86D4-481C-89D9-A6E69934304D}"/>
          </ac:spMkLst>
        </pc:spChg>
        <pc:spChg chg="mod">
          <ac:chgData name="Julie Campbell" userId="S::juliec@audienz.com::df5086f6-13ed-4e69-b43c-17720522b05d" providerId="AD" clId="Web-{171182D8-5E0F-C0C9-A2DC-99E8124F4E5D}" dt="2020-07-29T22:46:14.092" v="401" actId="20577"/>
          <ac:spMkLst>
            <pc:docMk/>
            <pc:sldMk cId="1974128877" sldId="276"/>
            <ac:spMk id="109" creationId="{BDA3919A-CE09-4138-A9D0-11DAA8D50183}"/>
          </ac:spMkLst>
        </pc:spChg>
        <pc:spChg chg="mod">
          <ac:chgData name="Julie Campbell" userId="S::juliec@audienz.com::df5086f6-13ed-4e69-b43c-17720522b05d" providerId="AD" clId="Web-{171182D8-5E0F-C0C9-A2DC-99E8124F4E5D}" dt="2020-07-29T22:46:14.108" v="402" actId="20577"/>
          <ac:spMkLst>
            <pc:docMk/>
            <pc:sldMk cId="1974128877" sldId="276"/>
            <ac:spMk id="110" creationId="{B8D516AD-49AD-4389-A834-1F65536A4E9E}"/>
          </ac:spMkLst>
        </pc:spChg>
        <pc:spChg chg="mod">
          <ac:chgData name="Julie Campbell" userId="S::juliec@audienz.com::df5086f6-13ed-4e69-b43c-17720522b05d" providerId="AD" clId="Web-{171182D8-5E0F-C0C9-A2DC-99E8124F4E5D}" dt="2020-07-29T22:46:14.123" v="403" actId="20577"/>
          <ac:spMkLst>
            <pc:docMk/>
            <pc:sldMk cId="1974128877" sldId="276"/>
            <ac:spMk id="111" creationId="{82FBA1F2-0B52-4104-B300-8504EFDC347E}"/>
          </ac:spMkLst>
        </pc:spChg>
        <pc:spChg chg="mod">
          <ac:chgData name="Julie Campbell" userId="S::juliec@audienz.com::df5086f6-13ed-4e69-b43c-17720522b05d" providerId="AD" clId="Web-{171182D8-5E0F-C0C9-A2DC-99E8124F4E5D}" dt="2020-07-29T22:46:14.186" v="411" actId="20577"/>
          <ac:spMkLst>
            <pc:docMk/>
            <pc:sldMk cId="1974128877" sldId="276"/>
            <ac:spMk id="123" creationId="{2E58F25F-2FFD-457D-9EE1-0DB6FBE65C81}"/>
          </ac:spMkLst>
        </pc:spChg>
        <pc:spChg chg="mod">
          <ac:chgData name="Julie Campbell" userId="S::juliec@audienz.com::df5086f6-13ed-4e69-b43c-17720522b05d" providerId="AD" clId="Web-{171182D8-5E0F-C0C9-A2DC-99E8124F4E5D}" dt="2020-07-29T22:46:14.201" v="412" actId="20577"/>
          <ac:spMkLst>
            <pc:docMk/>
            <pc:sldMk cId="1974128877" sldId="276"/>
            <ac:spMk id="124" creationId="{32DDD726-D803-4C01-B2C5-60AE1E9873EE}"/>
          </ac:spMkLst>
        </pc:spChg>
        <pc:spChg chg="mod">
          <ac:chgData name="Julie Campbell" userId="S::juliec@audienz.com::df5086f6-13ed-4e69-b43c-17720522b05d" providerId="AD" clId="Web-{171182D8-5E0F-C0C9-A2DC-99E8124F4E5D}" dt="2020-07-29T22:46:14.233" v="413" actId="20577"/>
          <ac:spMkLst>
            <pc:docMk/>
            <pc:sldMk cId="1974128877" sldId="276"/>
            <ac:spMk id="126" creationId="{2C3EC6F9-556D-44C6-8283-99E7673B9124}"/>
          </ac:spMkLst>
        </pc:spChg>
        <pc:spChg chg="mod">
          <ac:chgData name="Julie Campbell" userId="S::juliec@audienz.com::df5086f6-13ed-4e69-b43c-17720522b05d" providerId="AD" clId="Web-{171182D8-5E0F-C0C9-A2DC-99E8124F4E5D}" dt="2020-07-29T22:46:14.248" v="414" actId="20577"/>
          <ac:spMkLst>
            <pc:docMk/>
            <pc:sldMk cId="1974128877" sldId="276"/>
            <ac:spMk id="127" creationId="{C6AB9DA3-B5EF-4393-817A-7F99AB15E207}"/>
          </ac:spMkLst>
        </pc:spChg>
        <pc:spChg chg="mod">
          <ac:chgData name="Julie Campbell" userId="S::juliec@audienz.com::df5086f6-13ed-4e69-b43c-17720522b05d" providerId="AD" clId="Web-{171182D8-5E0F-C0C9-A2DC-99E8124F4E5D}" dt="2020-07-29T22:46:14.061" v="397" actId="20577"/>
          <ac:spMkLst>
            <pc:docMk/>
            <pc:sldMk cId="1974128877" sldId="276"/>
            <ac:spMk id="128" creationId="{E4EF3524-81F4-4A10-8351-1574D47A15DC}"/>
          </ac:spMkLst>
        </pc:spChg>
        <pc:spChg chg="mod">
          <ac:chgData name="Julie Campbell" userId="S::juliec@audienz.com::df5086f6-13ed-4e69-b43c-17720522b05d" providerId="AD" clId="Web-{171182D8-5E0F-C0C9-A2DC-99E8124F4E5D}" dt="2020-07-29T22:46:14.076" v="399" actId="20577"/>
          <ac:spMkLst>
            <pc:docMk/>
            <pc:sldMk cId="1974128877" sldId="276"/>
            <ac:spMk id="129" creationId="{25ECDE98-E88A-48B4-9FAE-72ABE34B66A9}"/>
          </ac:spMkLst>
        </pc:spChg>
        <pc:spChg chg="mod">
          <ac:chgData name="Julie Campbell" userId="S::juliec@audienz.com::df5086f6-13ed-4e69-b43c-17720522b05d" providerId="AD" clId="Web-{171182D8-5E0F-C0C9-A2DC-99E8124F4E5D}" dt="2020-07-29T22:46:14.326" v="419" actId="20577"/>
          <ac:spMkLst>
            <pc:docMk/>
            <pc:sldMk cId="1974128877" sldId="276"/>
            <ac:spMk id="130" creationId="{038DE25B-8C74-436C-8297-6DE6C1680990}"/>
          </ac:spMkLst>
        </pc:spChg>
        <pc:spChg chg="mod">
          <ac:chgData name="Julie Campbell" userId="S::juliec@audienz.com::df5086f6-13ed-4e69-b43c-17720522b05d" providerId="AD" clId="Web-{171182D8-5E0F-C0C9-A2DC-99E8124F4E5D}" dt="2020-07-29T22:46:14.342" v="421" actId="20577"/>
          <ac:spMkLst>
            <pc:docMk/>
            <pc:sldMk cId="1974128877" sldId="276"/>
            <ac:spMk id="131" creationId="{7089CDDF-B0CA-48A6-8508-5A2FE8786994}"/>
          </ac:spMkLst>
        </pc:spChg>
        <pc:spChg chg="mod">
          <ac:chgData name="Julie Campbell" userId="S::juliec@audienz.com::df5086f6-13ed-4e69-b43c-17720522b05d" providerId="AD" clId="Web-{171182D8-5E0F-C0C9-A2DC-99E8124F4E5D}" dt="2020-07-29T22:46:14.373" v="423" actId="20577"/>
          <ac:spMkLst>
            <pc:docMk/>
            <pc:sldMk cId="1974128877" sldId="276"/>
            <ac:spMk id="133" creationId="{B2B331B3-B78B-4BD3-ABA0-35BA16F4EE04}"/>
          </ac:spMkLst>
        </pc:spChg>
        <pc:spChg chg="mod">
          <ac:chgData name="Julie Campbell" userId="S::juliec@audienz.com::df5086f6-13ed-4e69-b43c-17720522b05d" providerId="AD" clId="Web-{171182D8-5E0F-C0C9-A2DC-99E8124F4E5D}" dt="2020-07-29T22:46:14.483" v="433" actId="20577"/>
          <ac:spMkLst>
            <pc:docMk/>
            <pc:sldMk cId="1974128877" sldId="276"/>
            <ac:spMk id="134" creationId="{A1552A68-CE95-4B99-AAA5-6BB2F67C33A2}"/>
          </ac:spMkLst>
        </pc:spChg>
        <pc:spChg chg="mod">
          <ac:chgData name="Julie Campbell" userId="S::juliec@audienz.com::df5086f6-13ed-4e69-b43c-17720522b05d" providerId="AD" clId="Web-{171182D8-5E0F-C0C9-A2DC-99E8124F4E5D}" dt="2020-07-29T22:46:14.608" v="443" actId="20577"/>
          <ac:spMkLst>
            <pc:docMk/>
            <pc:sldMk cId="1974128877" sldId="276"/>
            <ac:spMk id="135" creationId="{9003B6BF-EFDF-43A0-97C7-350817ED7202}"/>
          </ac:spMkLst>
        </pc:spChg>
        <pc:spChg chg="mod">
          <ac:chgData name="Julie Campbell" userId="S::juliec@audienz.com::df5086f6-13ed-4e69-b43c-17720522b05d" providerId="AD" clId="Web-{171182D8-5E0F-C0C9-A2DC-99E8124F4E5D}" dt="2020-07-29T22:46:14.389" v="425" actId="20577"/>
          <ac:spMkLst>
            <pc:docMk/>
            <pc:sldMk cId="1974128877" sldId="276"/>
            <ac:spMk id="136" creationId="{8B286652-7441-49E2-B263-04EB3B18FD02}"/>
          </ac:spMkLst>
        </pc:spChg>
        <pc:spChg chg="mod">
          <ac:chgData name="Julie Campbell" userId="S::juliec@audienz.com::df5086f6-13ed-4e69-b43c-17720522b05d" providerId="AD" clId="Web-{171182D8-5E0F-C0C9-A2DC-99E8124F4E5D}" dt="2020-07-29T22:46:14.405" v="426" actId="20577"/>
          <ac:spMkLst>
            <pc:docMk/>
            <pc:sldMk cId="1974128877" sldId="276"/>
            <ac:spMk id="137" creationId="{B2A76E64-2557-4224-A99C-403D877CB52F}"/>
          </ac:spMkLst>
        </pc:spChg>
        <pc:spChg chg="mod">
          <ac:chgData name="Julie Campbell" userId="S::juliec@audienz.com::df5086f6-13ed-4e69-b43c-17720522b05d" providerId="AD" clId="Web-{171182D8-5E0F-C0C9-A2DC-99E8124F4E5D}" dt="2020-07-29T22:46:14.420" v="427" actId="20577"/>
          <ac:spMkLst>
            <pc:docMk/>
            <pc:sldMk cId="1974128877" sldId="276"/>
            <ac:spMk id="138" creationId="{C5391A30-42D1-484A-BBC5-7616D17DE930}"/>
          </ac:spMkLst>
        </pc:spChg>
        <pc:spChg chg="mod">
          <ac:chgData name="Julie Campbell" userId="S::juliec@audienz.com::df5086f6-13ed-4e69-b43c-17720522b05d" providerId="AD" clId="Web-{171182D8-5E0F-C0C9-A2DC-99E8124F4E5D}" dt="2020-07-29T22:46:14.467" v="431" actId="20577"/>
          <ac:spMkLst>
            <pc:docMk/>
            <pc:sldMk cId="1974128877" sldId="276"/>
            <ac:spMk id="140" creationId="{722BBF98-3782-4BCE-90A5-499519BC5716}"/>
          </ac:spMkLst>
        </pc:spChg>
        <pc:spChg chg="mod">
          <ac:chgData name="Julie Campbell" userId="S::juliec@audienz.com::df5086f6-13ed-4e69-b43c-17720522b05d" providerId="AD" clId="Web-{171182D8-5E0F-C0C9-A2DC-99E8124F4E5D}" dt="2020-07-29T22:46:14.498" v="435" actId="20577"/>
          <ac:spMkLst>
            <pc:docMk/>
            <pc:sldMk cId="1974128877" sldId="276"/>
            <ac:spMk id="141" creationId="{BC1AA668-E103-4244-88CA-6ECCAD86A6D5}"/>
          </ac:spMkLst>
        </pc:spChg>
        <pc:spChg chg="mod">
          <ac:chgData name="Julie Campbell" userId="S::juliec@audienz.com::df5086f6-13ed-4e69-b43c-17720522b05d" providerId="AD" clId="Web-{171182D8-5E0F-C0C9-A2DC-99E8124F4E5D}" dt="2020-07-29T22:46:14.623" v="445" actId="20577"/>
          <ac:spMkLst>
            <pc:docMk/>
            <pc:sldMk cId="1974128877" sldId="276"/>
            <ac:spMk id="142" creationId="{F603E43D-7B62-4E4B-8733-700731E88EE5}"/>
          </ac:spMkLst>
        </pc:spChg>
        <pc:spChg chg="mod">
          <ac:chgData name="Julie Campbell" userId="S::juliec@audienz.com::df5086f6-13ed-4e69-b43c-17720522b05d" providerId="AD" clId="Web-{171182D8-5E0F-C0C9-A2DC-99E8124F4E5D}" dt="2020-07-29T22:46:14.514" v="437" actId="20577"/>
          <ac:spMkLst>
            <pc:docMk/>
            <pc:sldMk cId="1974128877" sldId="276"/>
            <ac:spMk id="143" creationId="{24A931AB-70F5-40B9-A1E5-B0CDBB781567}"/>
          </ac:spMkLst>
        </pc:spChg>
        <pc:spChg chg="mod">
          <ac:chgData name="Julie Campbell" userId="S::juliec@audienz.com::df5086f6-13ed-4e69-b43c-17720522b05d" providerId="AD" clId="Web-{171182D8-5E0F-C0C9-A2DC-99E8124F4E5D}" dt="2020-07-29T22:46:14.530" v="438" actId="20577"/>
          <ac:spMkLst>
            <pc:docMk/>
            <pc:sldMk cId="1974128877" sldId="276"/>
            <ac:spMk id="144" creationId="{C44D0FD6-C4B6-4497-91F7-77544384082E}"/>
          </ac:spMkLst>
        </pc:spChg>
        <pc:spChg chg="mod">
          <ac:chgData name="Julie Campbell" userId="S::juliec@audienz.com::df5086f6-13ed-4e69-b43c-17720522b05d" providerId="AD" clId="Web-{171182D8-5E0F-C0C9-A2DC-99E8124F4E5D}" dt="2020-07-29T22:46:14.639" v="447" actId="20577"/>
          <ac:spMkLst>
            <pc:docMk/>
            <pc:sldMk cId="1974128877" sldId="276"/>
            <ac:spMk id="145" creationId="{8B14ABB5-C31F-4F26-97FB-443B0100E679}"/>
          </ac:spMkLst>
        </pc:spChg>
        <pc:spChg chg="mod">
          <ac:chgData name="Julie Campbell" userId="S::juliec@audienz.com::df5086f6-13ed-4e69-b43c-17720522b05d" providerId="AD" clId="Web-{171182D8-5E0F-C0C9-A2DC-99E8124F4E5D}" dt="2020-07-29T22:46:14.655" v="448" actId="20577"/>
          <ac:spMkLst>
            <pc:docMk/>
            <pc:sldMk cId="1974128877" sldId="276"/>
            <ac:spMk id="146" creationId="{6D06E6AD-2BA8-464E-81D5-1669CEB0813E}"/>
          </ac:spMkLst>
        </pc:spChg>
        <pc:spChg chg="mod">
          <ac:chgData name="Julie Campbell" userId="S::juliec@audienz.com::df5086f6-13ed-4e69-b43c-17720522b05d" providerId="AD" clId="Web-{171182D8-5E0F-C0C9-A2DC-99E8124F4E5D}" dt="2020-07-29T22:46:14.576" v="441" actId="20577"/>
          <ac:spMkLst>
            <pc:docMk/>
            <pc:sldMk cId="1974128877" sldId="276"/>
            <ac:spMk id="149" creationId="{19E86241-7566-4BD8-A343-433C72FDA016}"/>
          </ac:spMkLst>
        </pc:spChg>
        <pc:spChg chg="mod">
          <ac:chgData name="Julie Campbell" userId="S::juliec@audienz.com::df5086f6-13ed-4e69-b43c-17720522b05d" providerId="AD" clId="Web-{171182D8-5E0F-C0C9-A2DC-99E8124F4E5D}" dt="2020-07-29T22:46:14.717" v="451" actId="20577"/>
          <ac:spMkLst>
            <pc:docMk/>
            <pc:sldMk cId="1974128877" sldId="276"/>
            <ac:spMk id="150" creationId="{B0BEFCFE-A29F-4A59-A933-F4FB98934C78}"/>
          </ac:spMkLst>
        </pc:spChg>
        <pc:spChg chg="mod">
          <ac:chgData name="Julie Campbell" userId="S::juliec@audienz.com::df5086f6-13ed-4e69-b43c-17720522b05d" providerId="AD" clId="Web-{171182D8-5E0F-C0C9-A2DC-99E8124F4E5D}" dt="2020-07-29T22:46:14.670" v="449" actId="20577"/>
          <ac:spMkLst>
            <pc:docMk/>
            <pc:sldMk cId="1974128877" sldId="276"/>
            <ac:spMk id="151" creationId="{8722DC91-6D8A-4D6E-955D-768BBDBBE88E}"/>
          </ac:spMkLst>
        </pc:spChg>
        <pc:spChg chg="mod">
          <ac:chgData name="Julie Campbell" userId="S::juliec@audienz.com::df5086f6-13ed-4e69-b43c-17720522b05d" providerId="AD" clId="Web-{171182D8-5E0F-C0C9-A2DC-99E8124F4E5D}" dt="2020-07-29T22:46:14.701" v="450" actId="20577"/>
          <ac:spMkLst>
            <pc:docMk/>
            <pc:sldMk cId="1974128877" sldId="276"/>
            <ac:spMk id="152" creationId="{DEFA1274-31E8-4CE1-9D06-E1EC64DC878C}"/>
          </ac:spMkLst>
        </pc:spChg>
        <pc:spChg chg="mod">
          <ac:chgData name="Julie Campbell" userId="S::juliec@audienz.com::df5086f6-13ed-4e69-b43c-17720522b05d" providerId="AD" clId="Web-{171182D8-5E0F-C0C9-A2DC-99E8124F4E5D}" dt="2020-07-29T22:46:14.545" v="439" actId="20577"/>
          <ac:spMkLst>
            <pc:docMk/>
            <pc:sldMk cId="1974128877" sldId="276"/>
            <ac:spMk id="154" creationId="{B44E47E3-3BF7-40F3-951B-1FB464DEAEC4}"/>
          </ac:spMkLst>
        </pc:spChg>
        <pc:spChg chg="mod">
          <ac:chgData name="Julie Campbell" userId="S::juliec@audienz.com::df5086f6-13ed-4e69-b43c-17720522b05d" providerId="AD" clId="Web-{171182D8-5E0F-C0C9-A2DC-99E8124F4E5D}" dt="2020-07-29T22:46:14.561" v="440" actId="20577"/>
          <ac:spMkLst>
            <pc:docMk/>
            <pc:sldMk cId="1974128877" sldId="276"/>
            <ac:spMk id="155" creationId="{FFFD58EA-9C34-49CF-A7D5-86BB3CC5FF28}"/>
          </ac:spMkLst>
        </pc:spChg>
        <pc:spChg chg="mod">
          <ac:chgData name="Julie Campbell" userId="S::juliec@audienz.com::df5086f6-13ed-4e69-b43c-17720522b05d" providerId="AD" clId="Web-{171182D8-5E0F-C0C9-A2DC-99E8124F4E5D}" dt="2020-07-29T22:46:14.436" v="429" actId="20577"/>
          <ac:spMkLst>
            <pc:docMk/>
            <pc:sldMk cId="1974128877" sldId="276"/>
            <ac:spMk id="157" creationId="{A9FA84B9-5FAC-48C6-949C-230BEAF3D505}"/>
          </ac:spMkLst>
        </pc:spChg>
        <pc:spChg chg="mod">
          <ac:chgData name="Julie Campbell" userId="S::juliec@audienz.com::df5086f6-13ed-4e69-b43c-17720522b05d" providerId="AD" clId="Web-{171182D8-5E0F-C0C9-A2DC-99E8124F4E5D}" dt="2020-07-29T22:46:14.451" v="430" actId="20577"/>
          <ac:spMkLst>
            <pc:docMk/>
            <pc:sldMk cId="1974128877" sldId="276"/>
            <ac:spMk id="158" creationId="{FE849DFD-4FFE-4B57-9B51-696344C29CF1}"/>
          </ac:spMkLst>
        </pc:spChg>
        <pc:spChg chg="mod">
          <ac:chgData name="Julie Campbell" userId="S::juliec@audienz.com::df5086f6-13ed-4e69-b43c-17720522b05d" providerId="AD" clId="Web-{171182D8-5E0F-C0C9-A2DC-99E8124F4E5D}" dt="2020-07-29T22:46:14.748" v="453" actId="20577"/>
          <ac:spMkLst>
            <pc:docMk/>
            <pc:sldMk cId="1974128877" sldId="276"/>
            <ac:spMk id="160" creationId="{7399E571-40F7-4E07-88E1-562E4167F0A3}"/>
          </ac:spMkLst>
        </pc:spChg>
        <pc:spChg chg="mod">
          <ac:chgData name="Julie Campbell" userId="S::juliec@audienz.com::df5086f6-13ed-4e69-b43c-17720522b05d" providerId="AD" clId="Web-{171182D8-5E0F-C0C9-A2DC-99E8124F4E5D}" dt="2020-07-29T22:46:14.764" v="455" actId="20577"/>
          <ac:spMkLst>
            <pc:docMk/>
            <pc:sldMk cId="1974128877" sldId="276"/>
            <ac:spMk id="163" creationId="{4D54EA55-839D-4DF7-835C-B0720AA76FC0}"/>
          </ac:spMkLst>
        </pc:spChg>
        <pc:spChg chg="mod">
          <ac:chgData name="Julie Campbell" userId="S::juliec@audienz.com::df5086f6-13ed-4e69-b43c-17720522b05d" providerId="AD" clId="Web-{171182D8-5E0F-C0C9-A2DC-99E8124F4E5D}" dt="2020-07-29T22:46:14.780" v="456" actId="20577"/>
          <ac:spMkLst>
            <pc:docMk/>
            <pc:sldMk cId="1974128877" sldId="276"/>
            <ac:spMk id="164" creationId="{59A684ED-EDDA-4702-AE2D-3A6BAAA189A1}"/>
          </ac:spMkLst>
        </pc:spChg>
        <pc:spChg chg="mod">
          <ac:chgData name="Julie Campbell" userId="S::juliec@audienz.com::df5086f6-13ed-4e69-b43c-17720522b05d" providerId="AD" clId="Web-{171182D8-5E0F-C0C9-A2DC-99E8124F4E5D}" dt="2020-07-29T22:46:14.795" v="457" actId="20577"/>
          <ac:spMkLst>
            <pc:docMk/>
            <pc:sldMk cId="1974128877" sldId="276"/>
            <ac:spMk id="165" creationId="{62A5402A-BE6E-4C27-B842-8495FAFD5765}"/>
          </ac:spMkLst>
        </pc:spChg>
        <pc:spChg chg="mod">
          <ac:chgData name="Julie Campbell" userId="S::juliec@audienz.com::df5086f6-13ed-4e69-b43c-17720522b05d" providerId="AD" clId="Web-{171182D8-5E0F-C0C9-A2DC-99E8124F4E5D}" dt="2020-07-29T22:46:14.811" v="459" actId="20577"/>
          <ac:spMkLst>
            <pc:docMk/>
            <pc:sldMk cId="1974128877" sldId="276"/>
            <ac:spMk id="167" creationId="{A969E581-8878-4F3A-98F4-2FBEA25B9C8F}"/>
          </ac:spMkLst>
        </pc:spChg>
        <pc:spChg chg="mod">
          <ac:chgData name="Julie Campbell" userId="S::juliec@audienz.com::df5086f6-13ed-4e69-b43c-17720522b05d" providerId="AD" clId="Web-{171182D8-5E0F-C0C9-A2DC-99E8124F4E5D}" dt="2020-07-29T22:46:14.842" v="460" actId="20577"/>
          <ac:spMkLst>
            <pc:docMk/>
            <pc:sldMk cId="1974128877" sldId="276"/>
            <ac:spMk id="168" creationId="{29DCD780-9BA0-4766-89AF-B59D92F222F2}"/>
          </ac:spMkLst>
        </pc:spChg>
        <pc:spChg chg="mod">
          <ac:chgData name="Julie Campbell" userId="S::juliec@audienz.com::df5086f6-13ed-4e69-b43c-17720522b05d" providerId="AD" clId="Web-{171182D8-5E0F-C0C9-A2DC-99E8124F4E5D}" dt="2020-07-29T22:46:14.858" v="461" actId="20577"/>
          <ac:spMkLst>
            <pc:docMk/>
            <pc:sldMk cId="1974128877" sldId="276"/>
            <ac:spMk id="170" creationId="{3ACD919C-8F7A-4993-AE85-BE0209318D9D}"/>
          </ac:spMkLst>
        </pc:spChg>
        <pc:spChg chg="mod">
          <ac:chgData name="Julie Campbell" userId="S::juliec@audienz.com::df5086f6-13ed-4e69-b43c-17720522b05d" providerId="AD" clId="Web-{171182D8-5E0F-C0C9-A2DC-99E8124F4E5D}" dt="2020-07-29T22:46:14.920" v="465" actId="20577"/>
          <ac:spMkLst>
            <pc:docMk/>
            <pc:sldMk cId="1974128877" sldId="276"/>
            <ac:spMk id="187" creationId="{63BD353C-514C-4DC2-A9E4-087D3B0B1A7C}"/>
          </ac:spMkLst>
        </pc:spChg>
        <pc:spChg chg="mod">
          <ac:chgData name="Julie Campbell" userId="S::juliec@audienz.com::df5086f6-13ed-4e69-b43c-17720522b05d" providerId="AD" clId="Web-{171182D8-5E0F-C0C9-A2DC-99E8124F4E5D}" dt="2020-07-29T22:46:14.936" v="466" actId="20577"/>
          <ac:spMkLst>
            <pc:docMk/>
            <pc:sldMk cId="1974128877" sldId="276"/>
            <ac:spMk id="188" creationId="{9ECC38A7-3F29-4A43-9EA7-E6AFA81B1A38}"/>
          </ac:spMkLst>
        </pc:spChg>
        <pc:spChg chg="mod">
          <ac:chgData name="Julie Campbell" userId="S::juliec@audienz.com::df5086f6-13ed-4e69-b43c-17720522b05d" providerId="AD" clId="Web-{171182D8-5E0F-C0C9-A2DC-99E8124F4E5D}" dt="2020-07-29T22:46:14.952" v="467" actId="20577"/>
          <ac:spMkLst>
            <pc:docMk/>
            <pc:sldMk cId="1974128877" sldId="276"/>
            <ac:spMk id="189" creationId="{CAC72B3F-2142-4CA0-B9F1-B0DF0C0077B0}"/>
          </ac:spMkLst>
        </pc:spChg>
        <pc:spChg chg="mod">
          <ac:chgData name="Julie Campbell" userId="S::juliec@audienz.com::df5086f6-13ed-4e69-b43c-17720522b05d" providerId="AD" clId="Web-{171182D8-5E0F-C0C9-A2DC-99E8124F4E5D}" dt="2020-07-29T22:46:14.967" v="468" actId="20577"/>
          <ac:spMkLst>
            <pc:docMk/>
            <pc:sldMk cId="1974128877" sldId="276"/>
            <ac:spMk id="190" creationId="{BDBF827C-7C27-431F-9413-8BA157C564C4}"/>
          </ac:spMkLst>
        </pc:spChg>
        <pc:spChg chg="mod">
          <ac:chgData name="Julie Campbell" userId="S::juliec@audienz.com::df5086f6-13ed-4e69-b43c-17720522b05d" providerId="AD" clId="Web-{171182D8-5E0F-C0C9-A2DC-99E8124F4E5D}" dt="2020-07-29T22:46:14.983" v="469" actId="20577"/>
          <ac:spMkLst>
            <pc:docMk/>
            <pc:sldMk cId="1974128877" sldId="276"/>
            <ac:spMk id="191" creationId="{77D37AFF-4297-4177-AE85-E5D5EB05397C}"/>
          </ac:spMkLst>
        </pc:spChg>
        <pc:spChg chg="mod">
          <ac:chgData name="Julie Campbell" userId="S::juliec@audienz.com::df5086f6-13ed-4e69-b43c-17720522b05d" providerId="AD" clId="Web-{171182D8-5E0F-C0C9-A2DC-99E8124F4E5D}" dt="2020-07-29T22:46:14.998" v="470" actId="20577"/>
          <ac:spMkLst>
            <pc:docMk/>
            <pc:sldMk cId="1974128877" sldId="276"/>
            <ac:spMk id="192" creationId="{D1608B96-AEFE-4E66-8E19-EC2B2A5DB659}"/>
          </ac:spMkLst>
        </pc:spChg>
        <pc:spChg chg="mod">
          <ac:chgData name="Julie Campbell" userId="S::juliec@audienz.com::df5086f6-13ed-4e69-b43c-17720522b05d" providerId="AD" clId="Web-{171182D8-5E0F-C0C9-A2DC-99E8124F4E5D}" dt="2020-07-29T22:46:15.014" v="471" actId="20577"/>
          <ac:spMkLst>
            <pc:docMk/>
            <pc:sldMk cId="1974128877" sldId="276"/>
            <ac:spMk id="193" creationId="{63A0524B-F22B-4A12-B350-D62D9EE23F9D}"/>
          </ac:spMkLst>
        </pc:spChg>
        <pc:spChg chg="mod">
          <ac:chgData name="Julie Campbell" userId="S::juliec@audienz.com::df5086f6-13ed-4e69-b43c-17720522b05d" providerId="AD" clId="Web-{171182D8-5E0F-C0C9-A2DC-99E8124F4E5D}" dt="2020-07-29T22:46:15.045" v="473" actId="20577"/>
          <ac:spMkLst>
            <pc:docMk/>
            <pc:sldMk cId="1974128877" sldId="276"/>
            <ac:spMk id="194" creationId="{A496A4E8-D001-48F6-B1CA-A7C82F826593}"/>
          </ac:spMkLst>
        </pc:spChg>
      </pc:sldChg>
      <pc:sldChg chg="modSp delCm">
        <pc:chgData name="Julie Campbell" userId="S::juliec@audienz.com::df5086f6-13ed-4e69-b43c-17720522b05d" providerId="AD" clId="Web-{171182D8-5E0F-C0C9-A2DC-99E8124F4E5D}" dt="2020-07-29T22:45:02.309" v="273" actId="20577"/>
        <pc:sldMkLst>
          <pc:docMk/>
          <pc:sldMk cId="931213806" sldId="277"/>
        </pc:sldMkLst>
        <pc:spChg chg="mod">
          <ac:chgData name="Julie Campbell" userId="S::juliec@audienz.com::df5086f6-13ed-4e69-b43c-17720522b05d" providerId="AD" clId="Web-{171182D8-5E0F-C0C9-A2DC-99E8124F4E5D}" dt="2020-07-29T22:45:01.919" v="266" actId="20577"/>
          <ac:spMkLst>
            <pc:docMk/>
            <pc:sldMk cId="931213806" sldId="277"/>
            <ac:spMk id="3" creationId="{629D66B4-387D-442D-B40A-0AF60EB08664}"/>
          </ac:spMkLst>
        </pc:spChg>
        <pc:spChg chg="mod">
          <ac:chgData name="Julie Campbell" userId="S::juliec@audienz.com::df5086f6-13ed-4e69-b43c-17720522b05d" providerId="AD" clId="Web-{171182D8-5E0F-C0C9-A2DC-99E8124F4E5D}" dt="2020-07-29T22:45:01.481" v="261" actId="20577"/>
          <ac:spMkLst>
            <pc:docMk/>
            <pc:sldMk cId="931213806" sldId="277"/>
            <ac:spMk id="13" creationId="{1A9361D6-79A9-46A9-B5F6-867EA0DF8DF0}"/>
          </ac:spMkLst>
        </pc:spChg>
        <pc:spChg chg="mod">
          <ac:chgData name="Julie Campbell" userId="S::juliec@audienz.com::df5086f6-13ed-4e69-b43c-17720522b05d" providerId="AD" clId="Web-{171182D8-5E0F-C0C9-A2DC-99E8124F4E5D}" dt="2020-07-29T22:45:01.591" v="262" actId="20577"/>
          <ac:spMkLst>
            <pc:docMk/>
            <pc:sldMk cId="931213806" sldId="277"/>
            <ac:spMk id="14" creationId="{38C78A06-528F-4345-8297-91788C890E82}"/>
          </ac:spMkLst>
        </pc:spChg>
        <pc:spChg chg="mod">
          <ac:chgData name="Julie Campbell" userId="S::juliec@audienz.com::df5086f6-13ed-4e69-b43c-17720522b05d" providerId="AD" clId="Web-{171182D8-5E0F-C0C9-A2DC-99E8124F4E5D}" dt="2020-07-29T22:45:01.716" v="263" actId="20577"/>
          <ac:spMkLst>
            <pc:docMk/>
            <pc:sldMk cId="931213806" sldId="277"/>
            <ac:spMk id="15" creationId="{01A66CAF-E031-4EBF-B924-A29C65C444E5}"/>
          </ac:spMkLst>
        </pc:spChg>
        <pc:spChg chg="mod">
          <ac:chgData name="Julie Campbell" userId="S::juliec@audienz.com::df5086f6-13ed-4e69-b43c-17720522b05d" providerId="AD" clId="Web-{171182D8-5E0F-C0C9-A2DC-99E8124F4E5D}" dt="2020-07-29T22:45:01.825" v="264" actId="20577"/>
          <ac:spMkLst>
            <pc:docMk/>
            <pc:sldMk cId="931213806" sldId="277"/>
            <ac:spMk id="16" creationId="{CC8DC9F1-F4B3-43F2-8707-1E1789933C7E}"/>
          </ac:spMkLst>
        </pc:spChg>
        <pc:spChg chg="mod">
          <ac:chgData name="Julie Campbell" userId="S::juliec@audienz.com::df5086f6-13ed-4e69-b43c-17720522b05d" providerId="AD" clId="Web-{171182D8-5E0F-C0C9-A2DC-99E8124F4E5D}" dt="2020-07-29T22:45:02.247" v="270" actId="20577"/>
          <ac:spMkLst>
            <pc:docMk/>
            <pc:sldMk cId="931213806" sldId="277"/>
            <ac:spMk id="17" creationId="{7550DE80-433B-423D-9E63-D8F653AF7BFE}"/>
          </ac:spMkLst>
        </pc:spChg>
        <pc:spChg chg="mod">
          <ac:chgData name="Julie Campbell" userId="S::juliec@audienz.com::df5086f6-13ed-4e69-b43c-17720522b05d" providerId="AD" clId="Web-{171182D8-5E0F-C0C9-A2DC-99E8124F4E5D}" dt="2020-07-29T22:45:02.278" v="271" actId="20577"/>
          <ac:spMkLst>
            <pc:docMk/>
            <pc:sldMk cId="931213806" sldId="277"/>
            <ac:spMk id="18" creationId="{4D6188E0-E3CA-41BA-8569-621DD7B9E86A}"/>
          </ac:spMkLst>
        </pc:spChg>
        <pc:spChg chg="mod">
          <ac:chgData name="Julie Campbell" userId="S::juliec@audienz.com::df5086f6-13ed-4e69-b43c-17720522b05d" providerId="AD" clId="Web-{171182D8-5E0F-C0C9-A2DC-99E8124F4E5D}" dt="2020-07-29T22:45:02.231" v="269" actId="20577"/>
          <ac:spMkLst>
            <pc:docMk/>
            <pc:sldMk cId="931213806" sldId="277"/>
            <ac:spMk id="20" creationId="{DF302802-6F4D-466D-B70D-902D20E301B9}"/>
          </ac:spMkLst>
        </pc:spChg>
        <pc:spChg chg="mod">
          <ac:chgData name="Julie Campbell" userId="S::juliec@audienz.com::df5086f6-13ed-4e69-b43c-17720522b05d" providerId="AD" clId="Web-{171182D8-5E0F-C0C9-A2DC-99E8124F4E5D}" dt="2020-07-29T22:45:01.934" v="268" actId="20577"/>
          <ac:spMkLst>
            <pc:docMk/>
            <pc:sldMk cId="931213806" sldId="277"/>
            <ac:spMk id="22" creationId="{0F5D9507-4233-4D86-B7FE-09D3420FD430}"/>
          </ac:spMkLst>
        </pc:spChg>
        <pc:spChg chg="mod">
          <ac:chgData name="Julie Campbell" userId="S::juliec@audienz.com::df5086f6-13ed-4e69-b43c-17720522b05d" providerId="AD" clId="Web-{171182D8-5E0F-C0C9-A2DC-99E8124F4E5D}" dt="2020-07-29T22:45:02.294" v="272" actId="20577"/>
          <ac:spMkLst>
            <pc:docMk/>
            <pc:sldMk cId="931213806" sldId="277"/>
            <ac:spMk id="27" creationId="{76E18C4A-6B40-4F98-AA26-4B6055ABE375}"/>
          </ac:spMkLst>
        </pc:spChg>
        <pc:spChg chg="mod">
          <ac:chgData name="Julie Campbell" userId="S::juliec@audienz.com::df5086f6-13ed-4e69-b43c-17720522b05d" providerId="AD" clId="Web-{171182D8-5E0F-C0C9-A2DC-99E8124F4E5D}" dt="2020-07-29T22:45:02.309" v="273" actId="20577"/>
          <ac:spMkLst>
            <pc:docMk/>
            <pc:sldMk cId="931213806" sldId="277"/>
            <ac:spMk id="28" creationId="{4DA66F50-9588-4F23-A822-580F2A21871B}"/>
          </ac:spMkLst>
        </pc:spChg>
      </pc:sldChg>
      <pc:sldChg chg="delCm">
        <pc:chgData name="Julie Campbell" userId="S::juliec@audienz.com::df5086f6-13ed-4e69-b43c-17720522b05d" providerId="AD" clId="Web-{171182D8-5E0F-C0C9-A2DC-99E8124F4E5D}" dt="2020-07-29T22:44:44.168" v="259"/>
        <pc:sldMkLst>
          <pc:docMk/>
          <pc:sldMk cId="2319708511" sldId="278"/>
        </pc:sldMkLst>
      </pc:sldChg>
      <pc:sldChg chg="modSp delCm">
        <pc:chgData name="Julie Campbell" userId="S::juliec@audienz.com::df5086f6-13ed-4e69-b43c-17720522b05d" providerId="AD" clId="Web-{171182D8-5E0F-C0C9-A2DC-99E8124F4E5D}" dt="2020-07-29T22:44:35.590" v="257" actId="20577"/>
        <pc:sldMkLst>
          <pc:docMk/>
          <pc:sldMk cId="70112696" sldId="279"/>
        </pc:sldMkLst>
        <pc:spChg chg="mod">
          <ac:chgData name="Julie Campbell" userId="S::juliec@audienz.com::df5086f6-13ed-4e69-b43c-17720522b05d" providerId="AD" clId="Web-{171182D8-5E0F-C0C9-A2DC-99E8124F4E5D}" dt="2020-07-29T22:44:35.043" v="246" actId="20577"/>
          <ac:spMkLst>
            <pc:docMk/>
            <pc:sldMk cId="70112696" sldId="279"/>
            <ac:spMk id="4" creationId="{D82F8B4F-62EF-4661-A165-E0A58E8B295E}"/>
          </ac:spMkLst>
        </pc:spChg>
        <pc:spChg chg="mod">
          <ac:chgData name="Julie Campbell" userId="S::juliec@audienz.com::df5086f6-13ed-4e69-b43c-17720522b05d" providerId="AD" clId="Web-{171182D8-5E0F-C0C9-A2DC-99E8124F4E5D}" dt="2020-07-29T22:44:34.731" v="241" actId="20577"/>
          <ac:spMkLst>
            <pc:docMk/>
            <pc:sldMk cId="70112696" sldId="279"/>
            <ac:spMk id="17" creationId="{21CCC91F-77E3-44F6-B769-EE5016122C92}"/>
          </ac:spMkLst>
        </pc:spChg>
        <pc:spChg chg="mod">
          <ac:chgData name="Julie Campbell" userId="S::juliec@audienz.com::df5086f6-13ed-4e69-b43c-17720522b05d" providerId="AD" clId="Web-{171182D8-5E0F-C0C9-A2DC-99E8124F4E5D}" dt="2020-07-29T22:44:34.809" v="242" actId="20577"/>
          <ac:spMkLst>
            <pc:docMk/>
            <pc:sldMk cId="70112696" sldId="279"/>
            <ac:spMk id="18" creationId="{6AA323AD-49B5-4350-B8F6-63293B4DAF1F}"/>
          </ac:spMkLst>
        </pc:spChg>
        <pc:spChg chg="mod">
          <ac:chgData name="Julie Campbell" userId="S::juliec@audienz.com::df5086f6-13ed-4e69-b43c-17720522b05d" providerId="AD" clId="Web-{171182D8-5E0F-C0C9-A2DC-99E8124F4E5D}" dt="2020-07-29T22:44:34.887" v="243" actId="20577"/>
          <ac:spMkLst>
            <pc:docMk/>
            <pc:sldMk cId="70112696" sldId="279"/>
            <ac:spMk id="19" creationId="{121F1AB6-337D-4D90-8F0D-68460928E32F}"/>
          </ac:spMkLst>
        </pc:spChg>
        <pc:spChg chg="mod">
          <ac:chgData name="Julie Campbell" userId="S::juliec@audienz.com::df5086f6-13ed-4e69-b43c-17720522b05d" providerId="AD" clId="Web-{171182D8-5E0F-C0C9-A2DC-99E8124F4E5D}" dt="2020-07-29T22:44:34.965" v="244" actId="20577"/>
          <ac:spMkLst>
            <pc:docMk/>
            <pc:sldMk cId="70112696" sldId="279"/>
            <ac:spMk id="20" creationId="{741457A3-C4F8-469D-94C5-D8D7E65FD796}"/>
          </ac:spMkLst>
        </pc:spChg>
        <pc:spChg chg="mod">
          <ac:chgData name="Julie Campbell" userId="S::juliec@audienz.com::df5086f6-13ed-4e69-b43c-17720522b05d" providerId="AD" clId="Web-{171182D8-5E0F-C0C9-A2DC-99E8124F4E5D}" dt="2020-07-29T22:44:35.434" v="249" actId="20577"/>
          <ac:spMkLst>
            <pc:docMk/>
            <pc:sldMk cId="70112696" sldId="279"/>
            <ac:spMk id="21" creationId="{25D72DCF-5CC5-43C9-B75A-058005056BEE}"/>
          </ac:spMkLst>
        </pc:spChg>
        <pc:spChg chg="mod">
          <ac:chgData name="Julie Campbell" userId="S::juliec@audienz.com::df5086f6-13ed-4e69-b43c-17720522b05d" providerId="AD" clId="Web-{171182D8-5E0F-C0C9-A2DC-99E8124F4E5D}" dt="2020-07-29T22:44:35.434" v="250" actId="20577"/>
          <ac:spMkLst>
            <pc:docMk/>
            <pc:sldMk cId="70112696" sldId="279"/>
            <ac:spMk id="22" creationId="{DEF5655A-5FC2-4614-A60F-8DBB572031D8}"/>
          </ac:spMkLst>
        </pc:spChg>
        <pc:spChg chg="mod">
          <ac:chgData name="Julie Campbell" userId="S::juliec@audienz.com::df5086f6-13ed-4e69-b43c-17720522b05d" providerId="AD" clId="Web-{171182D8-5E0F-C0C9-A2DC-99E8124F4E5D}" dt="2020-07-29T22:44:35.465" v="251" actId="20577"/>
          <ac:spMkLst>
            <pc:docMk/>
            <pc:sldMk cId="70112696" sldId="279"/>
            <ac:spMk id="23" creationId="{704E67C3-C128-47D8-840B-BB8753EB6A8F}"/>
          </ac:spMkLst>
        </pc:spChg>
        <pc:spChg chg="mod">
          <ac:chgData name="Julie Campbell" userId="S::juliec@audienz.com::df5086f6-13ed-4e69-b43c-17720522b05d" providerId="AD" clId="Web-{171182D8-5E0F-C0C9-A2DC-99E8124F4E5D}" dt="2020-07-29T22:44:35.059" v="248" actId="20577"/>
          <ac:spMkLst>
            <pc:docMk/>
            <pc:sldMk cId="70112696" sldId="279"/>
            <ac:spMk id="28" creationId="{D1464B9D-187E-4AFA-AC1F-5CEC98E95BC6}"/>
          </ac:spMkLst>
        </pc:spChg>
        <pc:spChg chg="mod">
          <ac:chgData name="Julie Campbell" userId="S::juliec@audienz.com::df5086f6-13ed-4e69-b43c-17720522b05d" providerId="AD" clId="Web-{171182D8-5E0F-C0C9-A2DC-99E8124F4E5D}" dt="2020-07-29T22:44:35.481" v="252" actId="20577"/>
          <ac:spMkLst>
            <pc:docMk/>
            <pc:sldMk cId="70112696" sldId="279"/>
            <ac:spMk id="33" creationId="{6D1C5EFA-B0FC-41AF-8105-B6980D18F264}"/>
          </ac:spMkLst>
        </pc:spChg>
        <pc:spChg chg="mod">
          <ac:chgData name="Julie Campbell" userId="S::juliec@audienz.com::df5086f6-13ed-4e69-b43c-17720522b05d" providerId="AD" clId="Web-{171182D8-5E0F-C0C9-A2DC-99E8124F4E5D}" dt="2020-07-29T22:44:35.496" v="253" actId="20577"/>
          <ac:spMkLst>
            <pc:docMk/>
            <pc:sldMk cId="70112696" sldId="279"/>
            <ac:spMk id="34" creationId="{8366B267-6D2A-40BF-A3F6-76274081510E}"/>
          </ac:spMkLst>
        </pc:spChg>
        <pc:spChg chg="mod">
          <ac:chgData name="Julie Campbell" userId="S::juliec@audienz.com::df5086f6-13ed-4e69-b43c-17720522b05d" providerId="AD" clId="Web-{171182D8-5E0F-C0C9-A2DC-99E8124F4E5D}" dt="2020-07-29T22:44:35.527" v="254" actId="20577"/>
          <ac:spMkLst>
            <pc:docMk/>
            <pc:sldMk cId="70112696" sldId="279"/>
            <ac:spMk id="35" creationId="{605140A8-1921-469C-9201-6A09D42CFF9C}"/>
          </ac:spMkLst>
        </pc:spChg>
        <pc:spChg chg="mod">
          <ac:chgData name="Julie Campbell" userId="S::juliec@audienz.com::df5086f6-13ed-4e69-b43c-17720522b05d" providerId="AD" clId="Web-{171182D8-5E0F-C0C9-A2DC-99E8124F4E5D}" dt="2020-07-29T22:44:35.559" v="255" actId="20577"/>
          <ac:spMkLst>
            <pc:docMk/>
            <pc:sldMk cId="70112696" sldId="279"/>
            <ac:spMk id="36" creationId="{0A5F5A73-AA27-4261-BA04-45BB55AA5AB5}"/>
          </ac:spMkLst>
        </pc:spChg>
        <pc:spChg chg="mod">
          <ac:chgData name="Julie Campbell" userId="S::juliec@audienz.com::df5086f6-13ed-4e69-b43c-17720522b05d" providerId="AD" clId="Web-{171182D8-5E0F-C0C9-A2DC-99E8124F4E5D}" dt="2020-07-29T22:44:35.574" v="256" actId="20577"/>
          <ac:spMkLst>
            <pc:docMk/>
            <pc:sldMk cId="70112696" sldId="279"/>
            <ac:spMk id="37" creationId="{CEDE2C26-825E-4BA8-967D-C842A5F6CCC2}"/>
          </ac:spMkLst>
        </pc:spChg>
        <pc:spChg chg="mod">
          <ac:chgData name="Julie Campbell" userId="S::juliec@audienz.com::df5086f6-13ed-4e69-b43c-17720522b05d" providerId="AD" clId="Web-{171182D8-5E0F-C0C9-A2DC-99E8124F4E5D}" dt="2020-07-29T22:44:35.590" v="257" actId="20577"/>
          <ac:spMkLst>
            <pc:docMk/>
            <pc:sldMk cId="70112696" sldId="279"/>
            <ac:spMk id="38" creationId="{D4DFB3D4-03FC-4983-AD33-9C5EC4C99068}"/>
          </ac:spMkLst>
        </pc:spChg>
      </pc:sldChg>
      <pc:sldChg chg="delCm">
        <pc:chgData name="Julie Campbell" userId="S::juliec@audienz.com::df5086f6-13ed-4e69-b43c-17720522b05d" providerId="AD" clId="Web-{171182D8-5E0F-C0C9-A2DC-99E8124F4E5D}" dt="2020-07-29T22:43:23.166" v="226"/>
        <pc:sldMkLst>
          <pc:docMk/>
          <pc:sldMk cId="3918680941" sldId="280"/>
        </pc:sldMkLst>
      </pc:sldChg>
      <pc:sldChg chg="modSp">
        <pc:chgData name="Julie Campbell" userId="S::juliec@audienz.com::df5086f6-13ed-4e69-b43c-17720522b05d" providerId="AD" clId="Web-{171182D8-5E0F-C0C9-A2DC-99E8124F4E5D}" dt="2020-07-29T22:41:33.070" v="212" actId="20577"/>
        <pc:sldMkLst>
          <pc:docMk/>
          <pc:sldMk cId="166671708" sldId="288"/>
        </pc:sldMkLst>
        <pc:spChg chg="mod">
          <ac:chgData name="Julie Campbell" userId="S::juliec@audienz.com::df5086f6-13ed-4e69-b43c-17720522b05d" providerId="AD" clId="Web-{171182D8-5E0F-C0C9-A2DC-99E8124F4E5D}" dt="2020-07-29T22:41:32.898" v="204" actId="20577"/>
          <ac:spMkLst>
            <pc:docMk/>
            <pc:sldMk cId="166671708" sldId="288"/>
            <ac:spMk id="2" creationId="{49A0A9E9-5FBD-4F00-8755-7756A8090D08}"/>
          </ac:spMkLst>
        </pc:spChg>
        <pc:spChg chg="mod">
          <ac:chgData name="Julie Campbell" userId="S::juliec@audienz.com::df5086f6-13ed-4e69-b43c-17720522b05d" providerId="AD" clId="Web-{171182D8-5E0F-C0C9-A2DC-99E8124F4E5D}" dt="2020-07-29T22:41:32.820" v="198" actId="20577"/>
          <ac:spMkLst>
            <pc:docMk/>
            <pc:sldMk cId="166671708" sldId="288"/>
            <ac:spMk id="4" creationId="{BEBA6688-56EF-4C10-A2DF-D076F7BDFC17}"/>
          </ac:spMkLst>
        </pc:spChg>
        <pc:spChg chg="mod">
          <ac:chgData name="Julie Campbell" userId="S::juliec@audienz.com::df5086f6-13ed-4e69-b43c-17720522b05d" providerId="AD" clId="Web-{171182D8-5E0F-C0C9-A2DC-99E8124F4E5D}" dt="2020-07-29T22:41:32.633" v="185" actId="20577"/>
          <ac:spMkLst>
            <pc:docMk/>
            <pc:sldMk cId="166671708" sldId="288"/>
            <ac:spMk id="5" creationId="{54AA9C75-B9DA-46E9-8A00-831E01D7D09D}"/>
          </ac:spMkLst>
        </pc:spChg>
        <pc:spChg chg="mod">
          <ac:chgData name="Julie Campbell" userId="S::juliec@audienz.com::df5086f6-13ed-4e69-b43c-17720522b05d" providerId="AD" clId="Web-{171182D8-5E0F-C0C9-A2DC-99E8124F4E5D}" dt="2020-07-29T22:41:33.070" v="212" actId="20577"/>
          <ac:spMkLst>
            <pc:docMk/>
            <pc:sldMk cId="166671708" sldId="288"/>
            <ac:spMk id="6" creationId="{BDF01274-67D8-463A-9DDA-D4DAE203AF37}"/>
          </ac:spMkLst>
        </pc:spChg>
        <pc:spChg chg="mod">
          <ac:chgData name="Julie Campbell" userId="S::juliec@audienz.com::df5086f6-13ed-4e69-b43c-17720522b05d" providerId="AD" clId="Web-{171182D8-5E0F-C0C9-A2DC-99E8124F4E5D}" dt="2020-07-29T22:41:32.805" v="197" actId="20577"/>
          <ac:spMkLst>
            <pc:docMk/>
            <pc:sldMk cId="166671708" sldId="288"/>
            <ac:spMk id="11" creationId="{7EB46CE8-8125-476D-A02A-3F42DC91A486}"/>
          </ac:spMkLst>
        </pc:spChg>
        <pc:spChg chg="mod">
          <ac:chgData name="Julie Campbell" userId="S::juliec@audienz.com::df5086f6-13ed-4e69-b43c-17720522b05d" providerId="AD" clId="Web-{171182D8-5E0F-C0C9-A2DC-99E8124F4E5D}" dt="2020-07-29T22:41:32.852" v="200" actId="20577"/>
          <ac:spMkLst>
            <pc:docMk/>
            <pc:sldMk cId="166671708" sldId="288"/>
            <ac:spMk id="25" creationId="{6EACF396-0B27-4468-915A-7E26446FB9E6}"/>
          </ac:spMkLst>
        </pc:spChg>
        <pc:spChg chg="mod">
          <ac:chgData name="Julie Campbell" userId="S::juliec@audienz.com::df5086f6-13ed-4e69-b43c-17720522b05d" providerId="AD" clId="Web-{171182D8-5E0F-C0C9-A2DC-99E8124F4E5D}" dt="2020-07-29T22:41:32.867" v="201" actId="20577"/>
          <ac:spMkLst>
            <pc:docMk/>
            <pc:sldMk cId="166671708" sldId="288"/>
            <ac:spMk id="27" creationId="{495CD7CB-720F-4DAB-AAAA-8C2BE7018B5F}"/>
          </ac:spMkLst>
        </pc:spChg>
        <pc:spChg chg="mod">
          <ac:chgData name="Julie Campbell" userId="S::juliec@audienz.com::df5086f6-13ed-4e69-b43c-17720522b05d" providerId="AD" clId="Web-{171182D8-5E0F-C0C9-A2DC-99E8124F4E5D}" dt="2020-07-29T22:41:32.867" v="202" actId="20577"/>
          <ac:spMkLst>
            <pc:docMk/>
            <pc:sldMk cId="166671708" sldId="288"/>
            <ac:spMk id="28" creationId="{454685FC-0AF7-4AA8-AA81-6B5F3370EC10}"/>
          </ac:spMkLst>
        </pc:spChg>
        <pc:spChg chg="mod">
          <ac:chgData name="Julie Campbell" userId="S::juliec@audienz.com::df5086f6-13ed-4e69-b43c-17720522b05d" providerId="AD" clId="Web-{171182D8-5E0F-C0C9-A2DC-99E8124F4E5D}" dt="2020-07-29T22:41:32.898" v="205" actId="20577"/>
          <ac:spMkLst>
            <pc:docMk/>
            <pc:sldMk cId="166671708" sldId="288"/>
            <ac:spMk id="29" creationId="{1781C86F-A99F-4CCF-9394-503C5960EFF6}"/>
          </ac:spMkLst>
        </pc:spChg>
        <pc:spChg chg="mod">
          <ac:chgData name="Julie Campbell" userId="S::juliec@audienz.com::df5086f6-13ed-4e69-b43c-17720522b05d" providerId="AD" clId="Web-{171182D8-5E0F-C0C9-A2DC-99E8124F4E5D}" dt="2020-07-29T22:41:32.914" v="206" actId="20577"/>
          <ac:spMkLst>
            <pc:docMk/>
            <pc:sldMk cId="166671708" sldId="288"/>
            <ac:spMk id="31" creationId="{093834A0-9B1E-4233-BF39-F9ADD59F79E8}"/>
          </ac:spMkLst>
        </pc:spChg>
        <pc:spChg chg="mod">
          <ac:chgData name="Julie Campbell" userId="S::juliec@audienz.com::df5086f6-13ed-4e69-b43c-17720522b05d" providerId="AD" clId="Web-{171182D8-5E0F-C0C9-A2DC-99E8124F4E5D}" dt="2020-07-29T22:41:32.930" v="207" actId="20577"/>
          <ac:spMkLst>
            <pc:docMk/>
            <pc:sldMk cId="166671708" sldId="288"/>
            <ac:spMk id="32" creationId="{B0A82365-329F-4957-BE6D-92729FA27A0F}"/>
          </ac:spMkLst>
        </pc:spChg>
        <pc:spChg chg="mod">
          <ac:chgData name="Julie Campbell" userId="S::juliec@audienz.com::df5086f6-13ed-4e69-b43c-17720522b05d" providerId="AD" clId="Web-{171182D8-5E0F-C0C9-A2DC-99E8124F4E5D}" dt="2020-07-29T22:41:32.945" v="208" actId="20577"/>
          <ac:spMkLst>
            <pc:docMk/>
            <pc:sldMk cId="166671708" sldId="288"/>
            <ac:spMk id="33" creationId="{7E296288-BEA5-4DF6-90C8-4E1F86F13214}"/>
          </ac:spMkLst>
        </pc:spChg>
        <pc:spChg chg="mod">
          <ac:chgData name="Julie Campbell" userId="S::juliec@audienz.com::df5086f6-13ed-4e69-b43c-17720522b05d" providerId="AD" clId="Web-{171182D8-5E0F-C0C9-A2DC-99E8124F4E5D}" dt="2020-07-29T22:41:32.961" v="209" actId="20577"/>
          <ac:spMkLst>
            <pc:docMk/>
            <pc:sldMk cId="166671708" sldId="288"/>
            <ac:spMk id="34" creationId="{ED3AA569-B6DC-4FD2-B275-A31FA2296B9D}"/>
          </ac:spMkLst>
        </pc:spChg>
        <pc:spChg chg="mod">
          <ac:chgData name="Julie Campbell" userId="S::juliec@audienz.com::df5086f6-13ed-4e69-b43c-17720522b05d" providerId="AD" clId="Web-{171182D8-5E0F-C0C9-A2DC-99E8124F4E5D}" dt="2020-07-29T22:41:32.695" v="189" actId="20577"/>
          <ac:spMkLst>
            <pc:docMk/>
            <pc:sldMk cId="166671708" sldId="288"/>
            <ac:spMk id="39" creationId="{A866C928-40F7-44EA-9030-3A8CA350790C}"/>
          </ac:spMkLst>
        </pc:spChg>
        <pc:spChg chg="mod">
          <ac:chgData name="Julie Campbell" userId="S::juliec@audienz.com::df5086f6-13ed-4e69-b43c-17720522b05d" providerId="AD" clId="Web-{171182D8-5E0F-C0C9-A2DC-99E8124F4E5D}" dt="2020-07-29T22:41:32.711" v="190" actId="20577"/>
          <ac:spMkLst>
            <pc:docMk/>
            <pc:sldMk cId="166671708" sldId="288"/>
            <ac:spMk id="40" creationId="{E82422A7-81F9-4536-8F24-97ED10818B7E}"/>
          </ac:spMkLst>
        </pc:spChg>
        <pc:spChg chg="mod">
          <ac:chgData name="Julie Campbell" userId="S::juliec@audienz.com::df5086f6-13ed-4e69-b43c-17720522b05d" providerId="AD" clId="Web-{171182D8-5E0F-C0C9-A2DC-99E8124F4E5D}" dt="2020-07-29T22:41:32.758" v="193" actId="20577"/>
          <ac:spMkLst>
            <pc:docMk/>
            <pc:sldMk cId="166671708" sldId="288"/>
            <ac:spMk id="42" creationId="{B2BA9670-38D7-4AB8-B45B-848CA87D403F}"/>
          </ac:spMkLst>
        </pc:spChg>
        <pc:spChg chg="mod">
          <ac:chgData name="Julie Campbell" userId="S::juliec@audienz.com::df5086f6-13ed-4e69-b43c-17720522b05d" providerId="AD" clId="Web-{171182D8-5E0F-C0C9-A2DC-99E8124F4E5D}" dt="2020-07-29T22:41:32.773" v="194" actId="20577"/>
          <ac:spMkLst>
            <pc:docMk/>
            <pc:sldMk cId="166671708" sldId="288"/>
            <ac:spMk id="43" creationId="{CD1FC02A-A405-4392-BA59-A6CB646FA9D0}"/>
          </ac:spMkLst>
        </pc:spChg>
        <pc:spChg chg="mod">
          <ac:chgData name="Julie Campbell" userId="S::juliec@audienz.com::df5086f6-13ed-4e69-b43c-17720522b05d" providerId="AD" clId="Web-{171182D8-5E0F-C0C9-A2DC-99E8124F4E5D}" dt="2020-07-29T22:41:32.664" v="187" actId="20577"/>
          <ac:spMkLst>
            <pc:docMk/>
            <pc:sldMk cId="166671708" sldId="288"/>
            <ac:spMk id="44" creationId="{CEE2126C-64FB-491E-86B8-4940321B3C37}"/>
          </ac:spMkLst>
        </pc:spChg>
        <pc:spChg chg="mod">
          <ac:chgData name="Julie Campbell" userId="S::juliec@audienz.com::df5086f6-13ed-4e69-b43c-17720522b05d" providerId="AD" clId="Web-{171182D8-5E0F-C0C9-A2DC-99E8124F4E5D}" dt="2020-07-29T22:41:32.727" v="191" actId="20577"/>
          <ac:spMkLst>
            <pc:docMk/>
            <pc:sldMk cId="166671708" sldId="288"/>
            <ac:spMk id="61" creationId="{0CC56AB5-C155-4A32-8703-28F1D5CB2D21}"/>
          </ac:spMkLst>
        </pc:spChg>
        <pc:spChg chg="mod">
          <ac:chgData name="Julie Campbell" userId="S::juliec@audienz.com::df5086f6-13ed-4e69-b43c-17720522b05d" providerId="AD" clId="Web-{171182D8-5E0F-C0C9-A2DC-99E8124F4E5D}" dt="2020-07-29T22:41:32.789" v="196" actId="20577"/>
          <ac:spMkLst>
            <pc:docMk/>
            <pc:sldMk cId="166671708" sldId="288"/>
            <ac:spMk id="62" creationId="{9BE9FB27-7C6F-4F3E-B1F2-9A90B59309E5}"/>
          </ac:spMkLst>
        </pc:spChg>
        <pc:spChg chg="mod">
          <ac:chgData name="Julie Campbell" userId="S::juliec@audienz.com::df5086f6-13ed-4e69-b43c-17720522b05d" providerId="AD" clId="Web-{171182D8-5E0F-C0C9-A2DC-99E8124F4E5D}" dt="2020-07-29T22:41:32.961" v="210" actId="20577"/>
          <ac:spMkLst>
            <pc:docMk/>
            <pc:sldMk cId="166671708" sldId="288"/>
            <ac:spMk id="72" creationId="{5C6CCA35-D428-42F8-AB6B-40A41DFB7C4A}"/>
          </ac:spMkLst>
        </pc:spChg>
        <pc:spChg chg="mod">
          <ac:chgData name="Julie Campbell" userId="S::juliec@audienz.com::df5086f6-13ed-4e69-b43c-17720522b05d" providerId="AD" clId="Web-{171182D8-5E0F-C0C9-A2DC-99E8124F4E5D}" dt="2020-07-29T22:41:32.992" v="211" actId="20577"/>
          <ac:spMkLst>
            <pc:docMk/>
            <pc:sldMk cId="166671708" sldId="288"/>
            <ac:spMk id="74" creationId="{3F1DAA10-DF22-4BA3-B032-895609272A0C}"/>
          </ac:spMkLst>
        </pc:spChg>
      </pc:sldChg>
      <pc:sldChg chg="modSp">
        <pc:chgData name="Julie Campbell" userId="S::juliec@audienz.com::df5086f6-13ed-4e69-b43c-17720522b05d" providerId="AD" clId="Web-{171182D8-5E0F-C0C9-A2DC-99E8124F4E5D}" dt="2020-07-29T22:39:41.099" v="5" actId="20577"/>
        <pc:sldMkLst>
          <pc:docMk/>
          <pc:sldMk cId="1583529098" sldId="289"/>
        </pc:sldMkLst>
        <pc:spChg chg="mod">
          <ac:chgData name="Julie Campbell" userId="S::juliec@audienz.com::df5086f6-13ed-4e69-b43c-17720522b05d" providerId="AD" clId="Web-{171182D8-5E0F-C0C9-A2DC-99E8124F4E5D}" dt="2020-07-29T22:39:41.021" v="1" actId="20577"/>
          <ac:spMkLst>
            <pc:docMk/>
            <pc:sldMk cId="1583529098" sldId="289"/>
            <ac:spMk id="2" creationId="{50ECDEEF-2AD9-4C0F-B010-337C1A61D14A}"/>
          </ac:spMkLst>
        </pc:spChg>
        <pc:spChg chg="mod">
          <ac:chgData name="Julie Campbell" userId="S::juliec@audienz.com::df5086f6-13ed-4e69-b43c-17720522b05d" providerId="AD" clId="Web-{171182D8-5E0F-C0C9-A2DC-99E8124F4E5D}" dt="2020-07-29T22:39:41.083" v="3" actId="20577"/>
          <ac:spMkLst>
            <pc:docMk/>
            <pc:sldMk cId="1583529098" sldId="289"/>
            <ac:spMk id="7" creationId="{FE5FAE11-94BF-4A08-89F8-8A2B40A98068}"/>
          </ac:spMkLst>
        </pc:spChg>
        <pc:spChg chg="mod">
          <ac:chgData name="Julie Campbell" userId="S::juliec@audienz.com::df5086f6-13ed-4e69-b43c-17720522b05d" providerId="AD" clId="Web-{171182D8-5E0F-C0C9-A2DC-99E8124F4E5D}" dt="2020-07-29T22:39:40.990" v="0" actId="20577"/>
          <ac:spMkLst>
            <pc:docMk/>
            <pc:sldMk cId="1583529098" sldId="289"/>
            <ac:spMk id="8" creationId="{637BEEA2-EA50-42EB-A7C5-FD48196C19E0}"/>
          </ac:spMkLst>
        </pc:spChg>
        <pc:spChg chg="mod">
          <ac:chgData name="Julie Campbell" userId="S::juliec@audienz.com::df5086f6-13ed-4e69-b43c-17720522b05d" providerId="AD" clId="Web-{171182D8-5E0F-C0C9-A2DC-99E8124F4E5D}" dt="2020-07-29T22:39:41.052" v="2" actId="20577"/>
          <ac:spMkLst>
            <pc:docMk/>
            <pc:sldMk cId="1583529098" sldId="289"/>
            <ac:spMk id="12" creationId="{B6E02512-62C6-43BA-8190-B956C9DC1E5D}"/>
          </ac:spMkLst>
        </pc:spChg>
        <pc:spChg chg="mod">
          <ac:chgData name="Julie Campbell" userId="S::juliec@audienz.com::df5086f6-13ed-4e69-b43c-17720522b05d" providerId="AD" clId="Web-{171182D8-5E0F-C0C9-A2DC-99E8124F4E5D}" dt="2020-07-29T22:39:41.099" v="4" actId="20577"/>
          <ac:spMkLst>
            <pc:docMk/>
            <pc:sldMk cId="1583529098" sldId="289"/>
            <ac:spMk id="18" creationId="{0A42D7B1-EBC5-4AA0-981E-CF414AF0E909}"/>
          </ac:spMkLst>
        </pc:spChg>
        <pc:spChg chg="mod">
          <ac:chgData name="Julie Campbell" userId="S::juliec@audienz.com::df5086f6-13ed-4e69-b43c-17720522b05d" providerId="AD" clId="Web-{171182D8-5E0F-C0C9-A2DC-99E8124F4E5D}" dt="2020-07-29T22:39:41.099" v="5" actId="20577"/>
          <ac:spMkLst>
            <pc:docMk/>
            <pc:sldMk cId="1583529098" sldId="289"/>
            <ac:spMk id="19" creationId="{029F0708-00F4-440C-93C3-E473E3BB0345}"/>
          </ac:spMkLst>
        </pc:spChg>
      </pc:sldChg>
      <pc:sldChg chg="modSp">
        <pc:chgData name="Julie Campbell" userId="S::juliec@audienz.com::df5086f6-13ed-4e69-b43c-17720522b05d" providerId="AD" clId="Web-{171182D8-5E0F-C0C9-A2DC-99E8124F4E5D}" dt="2020-07-29T22:41:32.586" v="184" actId="20577"/>
        <pc:sldMkLst>
          <pc:docMk/>
          <pc:sldMk cId="415679646" sldId="292"/>
        </pc:sldMkLst>
        <pc:spChg chg="mod">
          <ac:chgData name="Julie Campbell" userId="S::juliec@audienz.com::df5086f6-13ed-4e69-b43c-17720522b05d" providerId="AD" clId="Web-{171182D8-5E0F-C0C9-A2DC-99E8124F4E5D}" dt="2020-07-29T22:41:32.586" v="184" actId="20577"/>
          <ac:spMkLst>
            <pc:docMk/>
            <pc:sldMk cId="415679646" sldId="292"/>
            <ac:spMk id="2" creationId="{6BD5A368-CD78-4077-A7F4-972C5A563BEA}"/>
          </ac:spMkLst>
        </pc:spChg>
        <pc:spChg chg="mod">
          <ac:chgData name="Julie Campbell" userId="S::juliec@audienz.com::df5086f6-13ed-4e69-b43c-17720522b05d" providerId="AD" clId="Web-{171182D8-5E0F-C0C9-A2DC-99E8124F4E5D}" dt="2020-07-29T22:41:31.398" v="167" actId="20577"/>
          <ac:spMkLst>
            <pc:docMk/>
            <pc:sldMk cId="415679646" sldId="292"/>
            <ac:spMk id="4" creationId="{5B8CC845-66BF-4306-B2E1-F3B8F695FB1F}"/>
          </ac:spMkLst>
        </pc:spChg>
        <pc:spChg chg="mod">
          <ac:chgData name="Julie Campbell" userId="S::juliec@audienz.com::df5086f6-13ed-4e69-b43c-17720522b05d" providerId="AD" clId="Web-{171182D8-5E0F-C0C9-A2DC-99E8124F4E5D}" dt="2020-07-29T22:41:31.414" v="169" actId="20577"/>
          <ac:spMkLst>
            <pc:docMk/>
            <pc:sldMk cId="415679646" sldId="292"/>
            <ac:spMk id="5" creationId="{3C8F9765-3D30-42DF-AF50-91793B02338B}"/>
          </ac:spMkLst>
        </pc:spChg>
        <pc:spChg chg="mod">
          <ac:chgData name="Julie Campbell" userId="S::juliec@audienz.com::df5086f6-13ed-4e69-b43c-17720522b05d" providerId="AD" clId="Web-{171182D8-5E0F-C0C9-A2DC-99E8124F4E5D}" dt="2020-07-29T22:41:32.352" v="180" actId="20577"/>
          <ac:spMkLst>
            <pc:docMk/>
            <pc:sldMk cId="415679646" sldId="292"/>
            <ac:spMk id="12" creationId="{F0EB76C2-0688-4EC4-ACEF-C905E62A1238}"/>
          </ac:spMkLst>
        </pc:spChg>
        <pc:spChg chg="mod">
          <ac:chgData name="Julie Campbell" userId="S::juliec@audienz.com::df5086f6-13ed-4e69-b43c-17720522b05d" providerId="AD" clId="Web-{171182D8-5E0F-C0C9-A2DC-99E8124F4E5D}" dt="2020-07-29T22:41:31.430" v="170" actId="20577"/>
          <ac:spMkLst>
            <pc:docMk/>
            <pc:sldMk cId="415679646" sldId="292"/>
            <ac:spMk id="29" creationId="{2D6652A8-B940-435C-9117-FBFA2D872E0B}"/>
          </ac:spMkLst>
        </pc:spChg>
        <pc:spChg chg="mod">
          <ac:chgData name="Julie Campbell" userId="S::juliec@audienz.com::df5086f6-13ed-4e69-b43c-17720522b05d" providerId="AD" clId="Web-{171182D8-5E0F-C0C9-A2DC-99E8124F4E5D}" dt="2020-07-29T22:41:31.570" v="173" actId="20577"/>
          <ac:spMkLst>
            <pc:docMk/>
            <pc:sldMk cId="415679646" sldId="292"/>
            <ac:spMk id="32" creationId="{621DD68A-03AD-46AA-9E8D-87711C3B2240}"/>
          </ac:spMkLst>
        </pc:spChg>
        <pc:spChg chg="mod">
          <ac:chgData name="Julie Campbell" userId="S::juliec@audienz.com::df5086f6-13ed-4e69-b43c-17720522b05d" providerId="AD" clId="Web-{171182D8-5E0F-C0C9-A2DC-99E8124F4E5D}" dt="2020-07-29T22:41:31.461" v="172" actId="20577"/>
          <ac:spMkLst>
            <pc:docMk/>
            <pc:sldMk cId="415679646" sldId="292"/>
            <ac:spMk id="33" creationId="{07CCDC40-6620-4923-A435-6E3E143776C2}"/>
          </ac:spMkLst>
        </pc:spChg>
        <pc:spChg chg="mod">
          <ac:chgData name="Julie Campbell" userId="S::juliec@audienz.com::df5086f6-13ed-4e69-b43c-17720522b05d" providerId="AD" clId="Web-{171182D8-5E0F-C0C9-A2DC-99E8124F4E5D}" dt="2020-07-29T22:41:31.680" v="174" actId="20577"/>
          <ac:spMkLst>
            <pc:docMk/>
            <pc:sldMk cId="415679646" sldId="292"/>
            <ac:spMk id="41" creationId="{C7DBF5DA-2735-4D93-BD79-80CEC6F54899}"/>
          </ac:spMkLst>
        </pc:spChg>
        <pc:spChg chg="mod">
          <ac:chgData name="Julie Campbell" userId="S::juliec@audienz.com::df5086f6-13ed-4e69-b43c-17720522b05d" providerId="AD" clId="Web-{171182D8-5E0F-C0C9-A2DC-99E8124F4E5D}" dt="2020-07-29T22:41:31.805" v="175" actId="20577"/>
          <ac:spMkLst>
            <pc:docMk/>
            <pc:sldMk cId="415679646" sldId="292"/>
            <ac:spMk id="42" creationId="{BC6B4840-539F-490F-86FB-A59C60F7E895}"/>
          </ac:spMkLst>
        </pc:spChg>
        <pc:spChg chg="mod">
          <ac:chgData name="Julie Campbell" userId="S::juliec@audienz.com::df5086f6-13ed-4e69-b43c-17720522b05d" providerId="AD" clId="Web-{171182D8-5E0F-C0C9-A2DC-99E8124F4E5D}" dt="2020-07-29T22:41:31.914" v="176" actId="20577"/>
          <ac:spMkLst>
            <pc:docMk/>
            <pc:sldMk cId="415679646" sldId="292"/>
            <ac:spMk id="43" creationId="{9CD4D9E9-BBC2-436C-8038-67BC5999A10F}"/>
          </ac:spMkLst>
        </pc:spChg>
        <pc:spChg chg="mod">
          <ac:chgData name="Julie Campbell" userId="S::juliec@audienz.com::df5086f6-13ed-4e69-b43c-17720522b05d" providerId="AD" clId="Web-{171182D8-5E0F-C0C9-A2DC-99E8124F4E5D}" dt="2020-07-29T22:41:32.023" v="177" actId="20577"/>
          <ac:spMkLst>
            <pc:docMk/>
            <pc:sldMk cId="415679646" sldId="292"/>
            <ac:spMk id="44" creationId="{78165ABF-2C19-4777-AE06-17B45FEFFBCE}"/>
          </ac:spMkLst>
        </pc:spChg>
        <pc:spChg chg="mod">
          <ac:chgData name="Julie Campbell" userId="S::juliec@audienz.com::df5086f6-13ed-4e69-b43c-17720522b05d" providerId="AD" clId="Web-{171182D8-5E0F-C0C9-A2DC-99E8124F4E5D}" dt="2020-07-29T22:41:32.133" v="178" actId="20577"/>
          <ac:spMkLst>
            <pc:docMk/>
            <pc:sldMk cId="415679646" sldId="292"/>
            <ac:spMk id="45" creationId="{4C00159A-52D0-4E84-8700-DC9AF95399CE}"/>
          </ac:spMkLst>
        </pc:spChg>
        <pc:spChg chg="mod">
          <ac:chgData name="Julie Campbell" userId="S::juliec@audienz.com::df5086f6-13ed-4e69-b43c-17720522b05d" providerId="AD" clId="Web-{171182D8-5E0F-C0C9-A2DC-99E8124F4E5D}" dt="2020-07-29T22:41:32.242" v="179" actId="20577"/>
          <ac:spMkLst>
            <pc:docMk/>
            <pc:sldMk cId="415679646" sldId="292"/>
            <ac:spMk id="46" creationId="{E1E4E43C-9FB1-436F-B9F0-87CE37C36E0F}"/>
          </ac:spMkLst>
        </pc:spChg>
        <pc:spChg chg="mod">
          <ac:chgData name="Julie Campbell" userId="S::juliec@audienz.com::df5086f6-13ed-4e69-b43c-17720522b05d" providerId="AD" clId="Web-{171182D8-5E0F-C0C9-A2DC-99E8124F4E5D}" dt="2020-07-29T22:41:32.367" v="181" actId="20577"/>
          <ac:spMkLst>
            <pc:docMk/>
            <pc:sldMk cId="415679646" sldId="292"/>
            <ac:spMk id="47" creationId="{30E46298-5028-4CAF-AD98-1F54F754560B}"/>
          </ac:spMkLst>
        </pc:spChg>
      </pc:sldChg>
      <pc:sldChg chg="modSp">
        <pc:chgData name="Julie Campbell" userId="S::juliec@audienz.com::df5086f6-13ed-4e69-b43c-17720522b05d" providerId="AD" clId="Web-{171182D8-5E0F-C0C9-A2DC-99E8124F4E5D}" dt="2020-07-29T22:45:40.044" v="377" actId="20577"/>
        <pc:sldMkLst>
          <pc:docMk/>
          <pc:sldMk cId="2478379273" sldId="2060"/>
        </pc:sldMkLst>
        <pc:spChg chg="mod">
          <ac:chgData name="Julie Campbell" userId="S::juliec@audienz.com::df5086f6-13ed-4e69-b43c-17720522b05d" providerId="AD" clId="Web-{171182D8-5E0F-C0C9-A2DC-99E8124F4E5D}" dt="2020-07-29T22:45:39.607" v="349" actId="20577"/>
          <ac:spMkLst>
            <pc:docMk/>
            <pc:sldMk cId="2478379273" sldId="2060"/>
            <ac:spMk id="2" creationId="{33BF957E-A1FE-4395-B920-75331F7E16BD}"/>
          </ac:spMkLst>
        </pc:spChg>
        <pc:spChg chg="mod">
          <ac:chgData name="Julie Campbell" userId="S::juliec@audienz.com::df5086f6-13ed-4e69-b43c-17720522b05d" providerId="AD" clId="Web-{171182D8-5E0F-C0C9-A2DC-99E8124F4E5D}" dt="2020-07-29T22:45:39.248" v="336" actId="20577"/>
          <ac:spMkLst>
            <pc:docMk/>
            <pc:sldMk cId="2478379273" sldId="2060"/>
            <ac:spMk id="21" creationId="{6D7795D0-025F-491F-BAE7-5B710911E7FD}"/>
          </ac:spMkLst>
        </pc:spChg>
        <pc:spChg chg="mod">
          <ac:chgData name="Julie Campbell" userId="S::juliec@audienz.com::df5086f6-13ed-4e69-b43c-17720522b05d" providerId="AD" clId="Web-{171182D8-5E0F-C0C9-A2DC-99E8124F4E5D}" dt="2020-07-29T22:45:39.638" v="355" actId="20577"/>
          <ac:spMkLst>
            <pc:docMk/>
            <pc:sldMk cId="2478379273" sldId="2060"/>
            <ac:spMk id="61" creationId="{43886187-AB58-4976-B926-AA2A6457D398}"/>
          </ac:spMkLst>
        </pc:spChg>
        <pc:spChg chg="mod">
          <ac:chgData name="Julie Campbell" userId="S::juliec@audienz.com::df5086f6-13ed-4e69-b43c-17720522b05d" providerId="AD" clId="Web-{171182D8-5E0F-C0C9-A2DC-99E8124F4E5D}" dt="2020-07-29T22:45:39.654" v="356" actId="20577"/>
          <ac:spMkLst>
            <pc:docMk/>
            <pc:sldMk cId="2478379273" sldId="2060"/>
            <ac:spMk id="62" creationId="{6A2710F0-AF01-433A-8CBC-292505A9BCDA}"/>
          </ac:spMkLst>
        </pc:spChg>
        <pc:spChg chg="mod">
          <ac:chgData name="Julie Campbell" userId="S::juliec@audienz.com::df5086f6-13ed-4e69-b43c-17720522b05d" providerId="AD" clId="Web-{171182D8-5E0F-C0C9-A2DC-99E8124F4E5D}" dt="2020-07-29T22:45:39.623" v="351" actId="20577"/>
          <ac:spMkLst>
            <pc:docMk/>
            <pc:sldMk cId="2478379273" sldId="2060"/>
            <ac:spMk id="64" creationId="{E2C18E6D-2A2A-4F7F-80C5-61D207533CAA}"/>
          </ac:spMkLst>
        </pc:spChg>
        <pc:spChg chg="mod">
          <ac:chgData name="Julie Campbell" userId="S::juliec@audienz.com::df5086f6-13ed-4e69-b43c-17720522b05d" providerId="AD" clId="Web-{171182D8-5E0F-C0C9-A2DC-99E8124F4E5D}" dt="2020-07-29T22:45:39.638" v="354" actId="20577"/>
          <ac:spMkLst>
            <pc:docMk/>
            <pc:sldMk cId="2478379273" sldId="2060"/>
            <ac:spMk id="66" creationId="{B5D6D0F2-4F33-402F-AD16-00AB1B79706B}"/>
          </ac:spMkLst>
        </pc:spChg>
        <pc:spChg chg="mod">
          <ac:chgData name="Julie Campbell" userId="S::juliec@audienz.com::df5086f6-13ed-4e69-b43c-17720522b05d" providerId="AD" clId="Web-{171182D8-5E0F-C0C9-A2DC-99E8124F4E5D}" dt="2020-07-29T22:45:39.841" v="363" actId="20577"/>
          <ac:spMkLst>
            <pc:docMk/>
            <pc:sldMk cId="2478379273" sldId="2060"/>
            <ac:spMk id="84" creationId="{215D37B4-00C3-4E45-9E71-EDAB92E89EEF}"/>
          </ac:spMkLst>
        </pc:spChg>
        <pc:spChg chg="mod">
          <ac:chgData name="Julie Campbell" userId="S::juliec@audienz.com::df5086f6-13ed-4e69-b43c-17720522b05d" providerId="AD" clId="Web-{171182D8-5E0F-C0C9-A2DC-99E8124F4E5D}" dt="2020-07-29T22:45:39.904" v="367" actId="20577"/>
          <ac:spMkLst>
            <pc:docMk/>
            <pc:sldMk cId="2478379273" sldId="2060"/>
            <ac:spMk id="87" creationId="{9013F336-B854-4262-A4FE-394DC89CD4D6}"/>
          </ac:spMkLst>
        </pc:spChg>
        <pc:spChg chg="mod">
          <ac:chgData name="Julie Campbell" userId="S::juliec@audienz.com::df5086f6-13ed-4e69-b43c-17720522b05d" providerId="AD" clId="Web-{171182D8-5E0F-C0C9-A2DC-99E8124F4E5D}" dt="2020-07-29T22:45:39.919" v="368" actId="20577"/>
          <ac:spMkLst>
            <pc:docMk/>
            <pc:sldMk cId="2478379273" sldId="2060"/>
            <ac:spMk id="88" creationId="{8AC30E0F-84B3-408A-B908-927E20492177}"/>
          </ac:spMkLst>
        </pc:spChg>
        <pc:spChg chg="mod">
          <ac:chgData name="Julie Campbell" userId="S::juliec@audienz.com::df5086f6-13ed-4e69-b43c-17720522b05d" providerId="AD" clId="Web-{171182D8-5E0F-C0C9-A2DC-99E8124F4E5D}" dt="2020-07-29T22:45:39.966" v="370" actId="20577"/>
          <ac:spMkLst>
            <pc:docMk/>
            <pc:sldMk cId="2478379273" sldId="2060"/>
            <ac:spMk id="90" creationId="{0CFB8254-E8E1-4667-8819-20FDD69BC2A6}"/>
          </ac:spMkLst>
        </pc:spChg>
        <pc:spChg chg="mod">
          <ac:chgData name="Julie Campbell" userId="S::juliec@audienz.com::df5086f6-13ed-4e69-b43c-17720522b05d" providerId="AD" clId="Web-{171182D8-5E0F-C0C9-A2DC-99E8124F4E5D}" dt="2020-07-29T22:45:39.998" v="374" actId="20577"/>
          <ac:spMkLst>
            <pc:docMk/>
            <pc:sldMk cId="2478379273" sldId="2060"/>
            <ac:spMk id="92" creationId="{18641B33-69EB-46FE-BE98-6EB153253C49}"/>
          </ac:spMkLst>
        </pc:spChg>
        <pc:spChg chg="mod">
          <ac:chgData name="Julie Campbell" userId="S::juliec@audienz.com::df5086f6-13ed-4e69-b43c-17720522b05d" providerId="AD" clId="Web-{171182D8-5E0F-C0C9-A2DC-99E8124F4E5D}" dt="2020-07-29T22:45:40.013" v="375" actId="20577"/>
          <ac:spMkLst>
            <pc:docMk/>
            <pc:sldMk cId="2478379273" sldId="2060"/>
            <ac:spMk id="93" creationId="{33E20030-DCBB-49CC-A877-6EB83742764C}"/>
          </ac:spMkLst>
        </pc:spChg>
        <pc:spChg chg="mod">
          <ac:chgData name="Julie Campbell" userId="S::juliec@audienz.com::df5086f6-13ed-4e69-b43c-17720522b05d" providerId="AD" clId="Web-{171182D8-5E0F-C0C9-A2DC-99E8124F4E5D}" dt="2020-07-29T22:45:39.873" v="366" actId="20577"/>
          <ac:spMkLst>
            <pc:docMk/>
            <pc:sldMk cId="2478379273" sldId="2060"/>
            <ac:spMk id="95" creationId="{5020A6DF-C6AE-41E9-8705-5184E112923A}"/>
          </ac:spMkLst>
        </pc:spChg>
        <pc:spChg chg="mod">
          <ac:chgData name="Julie Campbell" userId="S::juliec@audienz.com::df5086f6-13ed-4e69-b43c-17720522b05d" providerId="AD" clId="Web-{171182D8-5E0F-C0C9-A2DC-99E8124F4E5D}" dt="2020-07-29T22:45:39.982" v="373" actId="20577"/>
          <ac:spMkLst>
            <pc:docMk/>
            <pc:sldMk cId="2478379273" sldId="2060"/>
            <ac:spMk id="96" creationId="{2A17BB63-C0FE-4453-B42E-066904785D9A}"/>
          </ac:spMkLst>
        </pc:spChg>
        <pc:spChg chg="mod">
          <ac:chgData name="Julie Campbell" userId="S::juliec@audienz.com::df5086f6-13ed-4e69-b43c-17720522b05d" providerId="AD" clId="Web-{171182D8-5E0F-C0C9-A2DC-99E8124F4E5D}" dt="2020-07-29T22:45:39.560" v="347" actId="20577"/>
          <ac:spMkLst>
            <pc:docMk/>
            <pc:sldMk cId="2478379273" sldId="2060"/>
            <ac:spMk id="99" creationId="{5D22ACD0-A919-4A6F-80C5-62530151B81A}"/>
          </ac:spMkLst>
        </pc:spChg>
        <pc:spChg chg="mod">
          <ac:chgData name="Julie Campbell" userId="S::juliec@audienz.com::df5086f6-13ed-4e69-b43c-17720522b05d" providerId="AD" clId="Web-{171182D8-5E0F-C0C9-A2DC-99E8124F4E5D}" dt="2020-07-29T22:45:39.466" v="345" actId="20577"/>
          <ac:spMkLst>
            <pc:docMk/>
            <pc:sldMk cId="2478379273" sldId="2060"/>
            <ac:spMk id="100" creationId="{767DBFCA-91FA-4597-B867-87978EA01B00}"/>
          </ac:spMkLst>
        </pc:spChg>
        <pc:spChg chg="mod">
          <ac:chgData name="Julie Campbell" userId="S::juliec@audienz.com::df5086f6-13ed-4e69-b43c-17720522b05d" providerId="AD" clId="Web-{171182D8-5E0F-C0C9-A2DC-99E8124F4E5D}" dt="2020-07-29T22:45:39.513" v="346" actId="20577"/>
          <ac:spMkLst>
            <pc:docMk/>
            <pc:sldMk cId="2478379273" sldId="2060"/>
            <ac:spMk id="101" creationId="{714FE61F-7120-4C90-8A4B-CB2EEBDDF5EF}"/>
          </ac:spMkLst>
        </pc:spChg>
        <pc:spChg chg="mod">
          <ac:chgData name="Julie Campbell" userId="S::juliec@audienz.com::df5086f6-13ed-4e69-b43c-17720522b05d" providerId="AD" clId="Web-{171182D8-5E0F-C0C9-A2DC-99E8124F4E5D}" dt="2020-07-29T22:45:39.248" v="337" actId="20577"/>
          <ac:spMkLst>
            <pc:docMk/>
            <pc:sldMk cId="2478379273" sldId="2060"/>
            <ac:spMk id="103" creationId="{7D80B910-39C6-4658-A89B-16F6AC75C4B5}"/>
          </ac:spMkLst>
        </pc:spChg>
        <pc:spChg chg="mod">
          <ac:chgData name="Julie Campbell" userId="S::juliec@audienz.com::df5086f6-13ed-4e69-b43c-17720522b05d" providerId="AD" clId="Web-{171182D8-5E0F-C0C9-A2DC-99E8124F4E5D}" dt="2020-07-29T22:45:39.294" v="338" actId="20577"/>
          <ac:spMkLst>
            <pc:docMk/>
            <pc:sldMk cId="2478379273" sldId="2060"/>
            <ac:spMk id="104" creationId="{6586B66F-83B9-4C68-87AD-7EC5710E38AC}"/>
          </ac:spMkLst>
        </pc:spChg>
        <pc:spChg chg="mod">
          <ac:chgData name="Julie Campbell" userId="S::juliec@audienz.com::df5086f6-13ed-4e69-b43c-17720522b05d" providerId="AD" clId="Web-{171182D8-5E0F-C0C9-A2DC-99E8124F4E5D}" dt="2020-07-29T22:45:39.326" v="339" actId="20577"/>
          <ac:spMkLst>
            <pc:docMk/>
            <pc:sldMk cId="2478379273" sldId="2060"/>
            <ac:spMk id="105" creationId="{C26EBC53-40FE-4663-B92D-5D223B91356D}"/>
          </ac:spMkLst>
        </pc:spChg>
        <pc:spChg chg="mod">
          <ac:chgData name="Julie Campbell" userId="S::juliec@audienz.com::df5086f6-13ed-4e69-b43c-17720522b05d" providerId="AD" clId="Web-{171182D8-5E0F-C0C9-A2DC-99E8124F4E5D}" dt="2020-07-29T22:45:39.373" v="341" actId="20577"/>
          <ac:spMkLst>
            <pc:docMk/>
            <pc:sldMk cId="2478379273" sldId="2060"/>
            <ac:spMk id="107" creationId="{7EF4C1AB-E61F-40DF-B214-CF60D44F4AFB}"/>
          </ac:spMkLst>
        </pc:spChg>
        <pc:spChg chg="mod">
          <ac:chgData name="Julie Campbell" userId="S::juliec@audienz.com::df5086f6-13ed-4e69-b43c-17720522b05d" providerId="AD" clId="Web-{171182D8-5E0F-C0C9-A2DC-99E8124F4E5D}" dt="2020-07-29T22:45:39.404" v="342" actId="20577"/>
          <ac:spMkLst>
            <pc:docMk/>
            <pc:sldMk cId="2478379273" sldId="2060"/>
            <ac:spMk id="108" creationId="{B2F7555A-FDFC-4798-B82E-6B5B2A0997C4}"/>
          </ac:spMkLst>
        </pc:spChg>
        <pc:spChg chg="mod">
          <ac:chgData name="Julie Campbell" userId="S::juliec@audienz.com::df5086f6-13ed-4e69-b43c-17720522b05d" providerId="AD" clId="Web-{171182D8-5E0F-C0C9-A2DC-99E8124F4E5D}" dt="2020-07-29T22:45:39.435" v="343" actId="20577"/>
          <ac:spMkLst>
            <pc:docMk/>
            <pc:sldMk cId="2478379273" sldId="2060"/>
            <ac:spMk id="109" creationId="{C91ED7E5-36B8-4784-9328-C56D97A3C996}"/>
          </ac:spMkLst>
        </pc:spChg>
        <pc:spChg chg="mod">
          <ac:chgData name="Julie Campbell" userId="S::juliec@audienz.com::df5086f6-13ed-4e69-b43c-17720522b05d" providerId="AD" clId="Web-{171182D8-5E0F-C0C9-A2DC-99E8124F4E5D}" dt="2020-07-29T22:45:39.669" v="357" actId="20577"/>
          <ac:spMkLst>
            <pc:docMk/>
            <pc:sldMk cId="2478379273" sldId="2060"/>
            <ac:spMk id="115" creationId="{F22A0D74-6B5B-4019-930C-09FDEF7E3A5E}"/>
          </ac:spMkLst>
        </pc:spChg>
        <pc:spChg chg="mod">
          <ac:chgData name="Julie Campbell" userId="S::juliec@audienz.com::df5086f6-13ed-4e69-b43c-17720522b05d" providerId="AD" clId="Web-{171182D8-5E0F-C0C9-A2DC-99E8124F4E5D}" dt="2020-07-29T22:45:39.685" v="358" actId="20577"/>
          <ac:spMkLst>
            <pc:docMk/>
            <pc:sldMk cId="2478379273" sldId="2060"/>
            <ac:spMk id="116" creationId="{CE694BEB-84E9-4191-8D2D-12E2732F0777}"/>
          </ac:spMkLst>
        </pc:spChg>
        <pc:spChg chg="mod">
          <ac:chgData name="Julie Campbell" userId="S::juliec@audienz.com::df5086f6-13ed-4e69-b43c-17720522b05d" providerId="AD" clId="Web-{171182D8-5E0F-C0C9-A2DC-99E8124F4E5D}" dt="2020-07-29T22:45:39.716" v="359" actId="20577"/>
          <ac:spMkLst>
            <pc:docMk/>
            <pc:sldMk cId="2478379273" sldId="2060"/>
            <ac:spMk id="117" creationId="{B34AE16D-9D6A-4702-91F6-163E4244AEE4}"/>
          </ac:spMkLst>
        </pc:spChg>
        <pc:spChg chg="mod">
          <ac:chgData name="Julie Campbell" userId="S::juliec@audienz.com::df5086f6-13ed-4e69-b43c-17720522b05d" providerId="AD" clId="Web-{171182D8-5E0F-C0C9-A2DC-99E8124F4E5D}" dt="2020-07-29T22:45:39.748" v="360" actId="20577"/>
          <ac:spMkLst>
            <pc:docMk/>
            <pc:sldMk cId="2478379273" sldId="2060"/>
            <ac:spMk id="118" creationId="{9897E64C-B84C-401D-821A-66E375D5A409}"/>
          </ac:spMkLst>
        </pc:spChg>
        <pc:spChg chg="mod">
          <ac:chgData name="Julie Campbell" userId="S::juliec@audienz.com::df5086f6-13ed-4e69-b43c-17720522b05d" providerId="AD" clId="Web-{171182D8-5E0F-C0C9-A2DC-99E8124F4E5D}" dt="2020-07-29T22:45:39.779" v="361" actId="20577"/>
          <ac:spMkLst>
            <pc:docMk/>
            <pc:sldMk cId="2478379273" sldId="2060"/>
            <ac:spMk id="119" creationId="{EF8AFA9A-17D7-404B-B402-EAE389E538CF}"/>
          </ac:spMkLst>
        </pc:spChg>
        <pc:spChg chg="mod">
          <ac:chgData name="Julie Campbell" userId="S::juliec@audienz.com::df5086f6-13ed-4e69-b43c-17720522b05d" providerId="AD" clId="Web-{171182D8-5E0F-C0C9-A2DC-99E8124F4E5D}" dt="2020-07-29T22:45:39.810" v="362" actId="20577"/>
          <ac:spMkLst>
            <pc:docMk/>
            <pc:sldMk cId="2478379273" sldId="2060"/>
            <ac:spMk id="120" creationId="{DE9D5881-3DFF-4A8B-BBCF-F14185CADB44}"/>
          </ac:spMkLst>
        </pc:spChg>
        <pc:spChg chg="mod">
          <ac:chgData name="Julie Campbell" userId="S::juliec@audienz.com::df5086f6-13ed-4e69-b43c-17720522b05d" providerId="AD" clId="Web-{171182D8-5E0F-C0C9-A2DC-99E8124F4E5D}" dt="2020-07-29T22:45:39.935" v="369" actId="20577"/>
          <ac:spMkLst>
            <pc:docMk/>
            <pc:sldMk cId="2478379273" sldId="2060"/>
            <ac:spMk id="121" creationId="{B5326DFC-D321-46F0-96D5-ECE1907FDE22}"/>
          </ac:spMkLst>
        </pc:spChg>
        <pc:spChg chg="mod">
          <ac:chgData name="Julie Campbell" userId="S::juliec@audienz.com::df5086f6-13ed-4e69-b43c-17720522b05d" providerId="AD" clId="Web-{171182D8-5E0F-C0C9-A2DC-99E8124F4E5D}" dt="2020-07-29T22:45:40.029" v="376" actId="20577"/>
          <ac:spMkLst>
            <pc:docMk/>
            <pc:sldMk cId="2478379273" sldId="2060"/>
            <ac:spMk id="123" creationId="{9A08610E-A269-4997-B95D-BFD0DB16104B}"/>
          </ac:spMkLst>
        </pc:spChg>
        <pc:spChg chg="mod">
          <ac:chgData name="Julie Campbell" userId="S::juliec@audienz.com::df5086f6-13ed-4e69-b43c-17720522b05d" providerId="AD" clId="Web-{171182D8-5E0F-C0C9-A2DC-99E8124F4E5D}" dt="2020-07-29T22:45:40.044" v="377" actId="20577"/>
          <ac:spMkLst>
            <pc:docMk/>
            <pc:sldMk cId="2478379273" sldId="2060"/>
            <ac:spMk id="124" creationId="{637BC4DA-E83A-4844-B3A6-21B276A8E83D}"/>
          </ac:spMkLst>
        </pc:spChg>
      </pc:sldChg>
      <pc:sldChg chg="modSp">
        <pc:chgData name="Julie Campbell" userId="S::juliec@audienz.com::df5086f6-13ed-4e69-b43c-17720522b05d" providerId="AD" clId="Web-{171182D8-5E0F-C0C9-A2DC-99E8124F4E5D}" dt="2020-07-29T22:41:33.258" v="225" actId="20577"/>
        <pc:sldMkLst>
          <pc:docMk/>
          <pc:sldMk cId="2407018841" sldId="2064"/>
        </pc:sldMkLst>
        <pc:spChg chg="mod">
          <ac:chgData name="Julie Campbell" userId="S::juliec@audienz.com::df5086f6-13ed-4e69-b43c-17720522b05d" providerId="AD" clId="Web-{171182D8-5E0F-C0C9-A2DC-99E8124F4E5D}" dt="2020-07-29T22:41:33.133" v="214" actId="20577"/>
          <ac:spMkLst>
            <pc:docMk/>
            <pc:sldMk cId="2407018841" sldId="2064"/>
            <ac:spMk id="4" creationId="{0671BCE3-B3F5-414B-B271-63F0B666BF29}"/>
          </ac:spMkLst>
        </pc:spChg>
        <pc:spChg chg="mod">
          <ac:chgData name="Julie Campbell" userId="S::juliec@audienz.com::df5086f6-13ed-4e69-b43c-17720522b05d" providerId="AD" clId="Web-{171182D8-5E0F-C0C9-A2DC-99E8124F4E5D}" dt="2020-07-29T22:41:33.148" v="216" actId="20577"/>
          <ac:spMkLst>
            <pc:docMk/>
            <pc:sldMk cId="2407018841" sldId="2064"/>
            <ac:spMk id="5" creationId="{17F7BC7B-30B0-497E-A790-D601357C9A7B}"/>
          </ac:spMkLst>
        </pc:spChg>
        <pc:spChg chg="mod">
          <ac:chgData name="Julie Campbell" userId="S::juliec@audienz.com::df5086f6-13ed-4e69-b43c-17720522b05d" providerId="AD" clId="Web-{171182D8-5E0F-C0C9-A2DC-99E8124F4E5D}" dt="2020-07-29T22:41:33.258" v="225" actId="20577"/>
          <ac:spMkLst>
            <pc:docMk/>
            <pc:sldMk cId="2407018841" sldId="2064"/>
            <ac:spMk id="7" creationId="{6D8A4160-BF53-4222-856C-E1BC964FBB6F}"/>
          </ac:spMkLst>
        </pc:spChg>
        <pc:spChg chg="mod">
          <ac:chgData name="Julie Campbell" userId="S::juliec@audienz.com::df5086f6-13ed-4e69-b43c-17720522b05d" providerId="AD" clId="Web-{171182D8-5E0F-C0C9-A2DC-99E8124F4E5D}" dt="2020-07-29T22:41:33.164" v="217" actId="20577"/>
          <ac:spMkLst>
            <pc:docMk/>
            <pc:sldMk cId="2407018841" sldId="2064"/>
            <ac:spMk id="21" creationId="{FD3AF5EF-6CFF-4BA8-B116-5E6AB4EE2EC7}"/>
          </ac:spMkLst>
        </pc:spChg>
        <pc:spChg chg="mod">
          <ac:chgData name="Julie Campbell" userId="S::juliec@audienz.com::df5086f6-13ed-4e69-b43c-17720522b05d" providerId="AD" clId="Web-{171182D8-5E0F-C0C9-A2DC-99E8124F4E5D}" dt="2020-07-29T22:41:33.164" v="218" actId="20577"/>
          <ac:spMkLst>
            <pc:docMk/>
            <pc:sldMk cId="2407018841" sldId="2064"/>
            <ac:spMk id="24" creationId="{F1A68C44-F926-4968-BABB-2DBD6192C8F0}"/>
          </ac:spMkLst>
        </pc:spChg>
        <pc:spChg chg="mod">
          <ac:chgData name="Julie Campbell" userId="S::juliec@audienz.com::df5086f6-13ed-4e69-b43c-17720522b05d" providerId="AD" clId="Web-{171182D8-5E0F-C0C9-A2DC-99E8124F4E5D}" dt="2020-07-29T22:41:33.180" v="219" actId="20577"/>
          <ac:spMkLst>
            <pc:docMk/>
            <pc:sldMk cId="2407018841" sldId="2064"/>
            <ac:spMk id="28" creationId="{51B004C8-EF21-456F-A137-7C1C949C3A19}"/>
          </ac:spMkLst>
        </pc:spChg>
        <pc:spChg chg="mod">
          <ac:chgData name="Julie Campbell" userId="S::juliec@audienz.com::df5086f6-13ed-4e69-b43c-17720522b05d" providerId="AD" clId="Web-{171182D8-5E0F-C0C9-A2DC-99E8124F4E5D}" dt="2020-07-29T22:41:33.195" v="221" actId="20577"/>
          <ac:spMkLst>
            <pc:docMk/>
            <pc:sldMk cId="2407018841" sldId="2064"/>
            <ac:spMk id="29" creationId="{7BDA6E7D-4854-465C-A715-4CE64CA31C7D}"/>
          </ac:spMkLst>
        </pc:spChg>
        <pc:spChg chg="mod">
          <ac:chgData name="Julie Campbell" userId="S::juliec@audienz.com::df5086f6-13ed-4e69-b43c-17720522b05d" providerId="AD" clId="Web-{171182D8-5E0F-C0C9-A2DC-99E8124F4E5D}" dt="2020-07-29T22:41:33.211" v="223" actId="20577"/>
          <ac:spMkLst>
            <pc:docMk/>
            <pc:sldMk cId="2407018841" sldId="2064"/>
            <ac:spMk id="30" creationId="{222A62FF-9375-449E-89D6-91F5B26EDF22}"/>
          </ac:spMkLst>
        </pc:spChg>
      </pc:sldChg>
    </pc:docChg>
  </pc:docChgLst>
  <pc:docChgLst>
    <pc:chgData name="Quincy Kosena" userId="34552e9c-390f-40b5-8a42-f626db2682ad" providerId="ADAL" clId="{48539556-DFC7-D249-8795-67459417A1A9}"/>
    <pc:docChg chg="custSel modSld">
      <pc:chgData name="Quincy Kosena" userId="34552e9c-390f-40b5-8a42-f626db2682ad" providerId="ADAL" clId="{48539556-DFC7-D249-8795-67459417A1A9}" dt="2020-06-24T02:15:54.281" v="92"/>
      <pc:docMkLst>
        <pc:docMk/>
      </pc:docMkLst>
      <pc:sldChg chg="modSp">
        <pc:chgData name="Quincy Kosena" userId="34552e9c-390f-40b5-8a42-f626db2682ad" providerId="ADAL" clId="{48539556-DFC7-D249-8795-67459417A1A9}" dt="2020-06-24T02:13:45.159" v="80" actId="13926"/>
        <pc:sldMkLst>
          <pc:docMk/>
          <pc:sldMk cId="3839829678" sldId="260"/>
        </pc:sldMkLst>
        <pc:spChg chg="mod">
          <ac:chgData name="Quincy Kosena" userId="34552e9c-390f-40b5-8a42-f626db2682ad" providerId="ADAL" clId="{48539556-DFC7-D249-8795-67459417A1A9}" dt="2020-06-24T02:08:03.457" v="64" actId="13926"/>
          <ac:spMkLst>
            <pc:docMk/>
            <pc:sldMk cId="3839829678" sldId="260"/>
            <ac:spMk id="4" creationId="{DE43F494-B992-40EC-B339-5765DC080332}"/>
          </ac:spMkLst>
        </pc:spChg>
        <pc:spChg chg="mod">
          <ac:chgData name="Quincy Kosena" userId="34552e9c-390f-40b5-8a42-f626db2682ad" providerId="ADAL" clId="{48539556-DFC7-D249-8795-67459417A1A9}" dt="2020-06-24T02:08:07.790" v="66" actId="13926"/>
          <ac:spMkLst>
            <pc:docMk/>
            <pc:sldMk cId="3839829678" sldId="260"/>
            <ac:spMk id="23" creationId="{C68AFD80-B386-4645-9329-4AFFDC171F0B}"/>
          </ac:spMkLst>
        </pc:spChg>
        <pc:spChg chg="mod">
          <ac:chgData name="Quincy Kosena" userId="34552e9c-390f-40b5-8a42-f626db2682ad" providerId="ADAL" clId="{48539556-DFC7-D249-8795-67459417A1A9}" dt="2020-06-24T02:13:45.159" v="80" actId="13926"/>
          <ac:spMkLst>
            <pc:docMk/>
            <pc:sldMk cId="3839829678" sldId="260"/>
            <ac:spMk id="28" creationId="{B1AA46E7-6AF9-4FD7-9386-55222FF6ECA5}"/>
          </ac:spMkLst>
        </pc:spChg>
      </pc:sldChg>
      <pc:sldChg chg="modSp">
        <pc:chgData name="Quincy Kosena" userId="34552e9c-390f-40b5-8a42-f626db2682ad" providerId="ADAL" clId="{48539556-DFC7-D249-8795-67459417A1A9}" dt="2020-06-24T02:11:16.874" v="79" actId="13926"/>
        <pc:sldMkLst>
          <pc:docMk/>
          <pc:sldMk cId="3955326522" sldId="261"/>
        </pc:sldMkLst>
        <pc:spChg chg="mod">
          <ac:chgData name="Quincy Kosena" userId="34552e9c-390f-40b5-8a42-f626db2682ad" providerId="ADAL" clId="{48539556-DFC7-D249-8795-67459417A1A9}" dt="2020-06-24T02:07:14.281" v="53" actId="13926"/>
          <ac:spMkLst>
            <pc:docMk/>
            <pc:sldMk cId="3955326522" sldId="261"/>
            <ac:spMk id="5" creationId="{00501C87-C616-4408-B5A1-B6CD4FFEB4E0}"/>
          </ac:spMkLst>
        </pc:spChg>
        <pc:spChg chg="mod">
          <ac:chgData name="Quincy Kosena" userId="34552e9c-390f-40b5-8a42-f626db2682ad" providerId="ADAL" clId="{48539556-DFC7-D249-8795-67459417A1A9}" dt="2020-06-24T02:11:16.874" v="79" actId="13926"/>
          <ac:spMkLst>
            <pc:docMk/>
            <pc:sldMk cId="3955326522" sldId="261"/>
            <ac:spMk id="25" creationId="{A9C48E5F-7A1A-4FB5-804A-7A9B4348D5C7}"/>
          </ac:spMkLst>
        </pc:spChg>
      </pc:sldChg>
      <pc:sldChg chg="modSp">
        <pc:chgData name="Quincy Kosena" userId="34552e9c-390f-40b5-8a42-f626db2682ad" providerId="ADAL" clId="{48539556-DFC7-D249-8795-67459417A1A9}" dt="2020-06-24T02:07:09.812" v="52" actId="13926"/>
        <pc:sldMkLst>
          <pc:docMk/>
          <pc:sldMk cId="3086281997" sldId="262"/>
        </pc:sldMkLst>
        <pc:spChg chg="mod">
          <ac:chgData name="Quincy Kosena" userId="34552e9c-390f-40b5-8a42-f626db2682ad" providerId="ADAL" clId="{48539556-DFC7-D249-8795-67459417A1A9}" dt="2020-06-24T02:06:43.624" v="46" actId="13926"/>
          <ac:spMkLst>
            <pc:docMk/>
            <pc:sldMk cId="3086281997" sldId="262"/>
            <ac:spMk id="4" creationId="{9FEC5739-455C-4241-A7FB-12E01CC7F336}"/>
          </ac:spMkLst>
        </pc:spChg>
        <pc:spChg chg="mod">
          <ac:chgData name="Quincy Kosena" userId="34552e9c-390f-40b5-8a42-f626db2682ad" providerId="ADAL" clId="{48539556-DFC7-D249-8795-67459417A1A9}" dt="2020-06-24T02:07:09.812" v="52" actId="13926"/>
          <ac:spMkLst>
            <pc:docMk/>
            <pc:sldMk cId="3086281997" sldId="262"/>
            <ac:spMk id="26" creationId="{3C0E3327-941E-4AEB-A08E-5C0AF12CADC7}"/>
          </ac:spMkLst>
        </pc:spChg>
      </pc:sldChg>
      <pc:sldChg chg="modSp">
        <pc:chgData name="Quincy Kosena" userId="34552e9c-390f-40b5-8a42-f626db2682ad" providerId="ADAL" clId="{48539556-DFC7-D249-8795-67459417A1A9}" dt="2020-06-24T02:06:38.759" v="45" actId="13926"/>
        <pc:sldMkLst>
          <pc:docMk/>
          <pc:sldMk cId="2217887558" sldId="263"/>
        </pc:sldMkLst>
        <pc:spChg chg="mod">
          <ac:chgData name="Quincy Kosena" userId="34552e9c-390f-40b5-8a42-f626db2682ad" providerId="ADAL" clId="{48539556-DFC7-D249-8795-67459417A1A9}" dt="2020-06-24T02:06:12.199" v="39" actId="13926"/>
          <ac:spMkLst>
            <pc:docMk/>
            <pc:sldMk cId="2217887558" sldId="263"/>
            <ac:spMk id="4" creationId="{65E30DB7-8D96-41A7-A39D-587215542D39}"/>
          </ac:spMkLst>
        </pc:spChg>
        <pc:spChg chg="mod">
          <ac:chgData name="Quincy Kosena" userId="34552e9c-390f-40b5-8a42-f626db2682ad" providerId="ADAL" clId="{48539556-DFC7-D249-8795-67459417A1A9}" dt="2020-06-24T02:06:38.759" v="45" actId="13926"/>
          <ac:spMkLst>
            <pc:docMk/>
            <pc:sldMk cId="2217887558" sldId="263"/>
            <ac:spMk id="28" creationId="{E0E8A4FC-4122-4116-84B6-366CB2787A55}"/>
          </ac:spMkLst>
        </pc:spChg>
      </pc:sldChg>
      <pc:sldChg chg="modSp">
        <pc:chgData name="Quincy Kosena" userId="34552e9c-390f-40b5-8a42-f626db2682ad" providerId="ADAL" clId="{48539556-DFC7-D249-8795-67459417A1A9}" dt="2020-06-24T02:06:01.236" v="37" actId="13926"/>
        <pc:sldMkLst>
          <pc:docMk/>
          <pc:sldMk cId="629473396" sldId="264"/>
        </pc:sldMkLst>
        <pc:spChg chg="mod">
          <ac:chgData name="Quincy Kosena" userId="34552e9c-390f-40b5-8a42-f626db2682ad" providerId="ADAL" clId="{48539556-DFC7-D249-8795-67459417A1A9}" dt="2020-06-24T02:05:38.576" v="31" actId="13926"/>
          <ac:spMkLst>
            <pc:docMk/>
            <pc:sldMk cId="629473396" sldId="264"/>
            <ac:spMk id="4" creationId="{096DA288-A091-49BE-B425-979E77AF9394}"/>
          </ac:spMkLst>
        </pc:spChg>
        <pc:spChg chg="mod">
          <ac:chgData name="Quincy Kosena" userId="34552e9c-390f-40b5-8a42-f626db2682ad" providerId="ADAL" clId="{48539556-DFC7-D249-8795-67459417A1A9}" dt="2020-06-24T02:06:01.236" v="37" actId="13926"/>
          <ac:spMkLst>
            <pc:docMk/>
            <pc:sldMk cId="629473396" sldId="264"/>
            <ac:spMk id="9" creationId="{BE109622-1A85-40B8-9E3B-AB4D412D2037}"/>
          </ac:spMkLst>
        </pc:spChg>
      </pc:sldChg>
      <pc:sldChg chg="modSp">
        <pc:chgData name="Quincy Kosena" userId="34552e9c-390f-40b5-8a42-f626db2682ad" providerId="ADAL" clId="{48539556-DFC7-D249-8795-67459417A1A9}" dt="2020-06-24T02:09:46.828" v="77" actId="13926"/>
        <pc:sldMkLst>
          <pc:docMk/>
          <pc:sldMk cId="4067885522" sldId="270"/>
        </pc:sldMkLst>
        <pc:spChg chg="mod">
          <ac:chgData name="Quincy Kosena" userId="34552e9c-390f-40b5-8a42-f626db2682ad" providerId="ADAL" clId="{48539556-DFC7-D249-8795-67459417A1A9}" dt="2020-06-24T02:02:53.032" v="1" actId="13926"/>
          <ac:spMkLst>
            <pc:docMk/>
            <pc:sldMk cId="4067885522" sldId="270"/>
            <ac:spMk id="39" creationId="{6CD35FB6-8EE6-4C71-9241-013DD689E049}"/>
          </ac:spMkLst>
        </pc:spChg>
        <pc:spChg chg="mod">
          <ac:chgData name="Quincy Kosena" userId="34552e9c-390f-40b5-8a42-f626db2682ad" providerId="ADAL" clId="{48539556-DFC7-D249-8795-67459417A1A9}" dt="2020-06-24T02:09:46.828" v="77" actId="13926"/>
          <ac:spMkLst>
            <pc:docMk/>
            <pc:sldMk cId="4067885522" sldId="270"/>
            <ac:spMk id="186" creationId="{3A9F9569-0C3D-4192-8435-A07AC801AD5C}"/>
          </ac:spMkLst>
        </pc:spChg>
      </pc:sldChg>
      <pc:sldChg chg="modSp addCm modCm">
        <pc:chgData name="Quincy Kosena" userId="34552e9c-390f-40b5-8a42-f626db2682ad" providerId="ADAL" clId="{48539556-DFC7-D249-8795-67459417A1A9}" dt="2020-06-24T02:15:54.281" v="92"/>
        <pc:sldMkLst>
          <pc:docMk/>
          <pc:sldMk cId="3350795843" sldId="272"/>
        </pc:sldMkLst>
        <pc:spChg chg="mod">
          <ac:chgData name="Quincy Kosena" userId="34552e9c-390f-40b5-8a42-f626db2682ad" providerId="ADAL" clId="{48539556-DFC7-D249-8795-67459417A1A9}" dt="2020-06-24T02:08:49.246" v="74" actId="13926"/>
          <ac:spMkLst>
            <pc:docMk/>
            <pc:sldMk cId="3350795843" sldId="272"/>
            <ac:spMk id="17" creationId="{D929444F-D156-4F99-9EBF-5286506120FB}"/>
          </ac:spMkLst>
        </pc:spChg>
      </pc:sldChg>
      <pc:sldChg chg="modSp">
        <pc:chgData name="Quincy Kosena" userId="34552e9c-390f-40b5-8a42-f626db2682ad" providerId="ADAL" clId="{48539556-DFC7-D249-8795-67459417A1A9}" dt="2020-06-24T02:04:26.093" v="19" actId="13926"/>
        <pc:sldMkLst>
          <pc:docMk/>
          <pc:sldMk cId="2617117329" sldId="273"/>
        </pc:sldMkLst>
        <pc:spChg chg="mod">
          <ac:chgData name="Quincy Kosena" userId="34552e9c-390f-40b5-8a42-f626db2682ad" providerId="ADAL" clId="{48539556-DFC7-D249-8795-67459417A1A9}" dt="2020-06-24T02:04:26.093" v="19" actId="13926"/>
          <ac:spMkLst>
            <pc:docMk/>
            <pc:sldMk cId="2617117329" sldId="273"/>
            <ac:spMk id="16" creationId="{970BD1C3-951E-423A-AC46-56FD77E41832}"/>
          </ac:spMkLst>
        </pc:spChg>
      </pc:sldChg>
      <pc:sldChg chg="addCm modCm">
        <pc:chgData name="Quincy Kosena" userId="34552e9c-390f-40b5-8a42-f626db2682ad" providerId="ADAL" clId="{48539556-DFC7-D249-8795-67459417A1A9}" dt="2020-06-24T02:15:45.830" v="90"/>
        <pc:sldMkLst>
          <pc:docMk/>
          <pc:sldMk cId="1543140450" sldId="274"/>
        </pc:sldMkLst>
      </pc:sldChg>
      <pc:sldChg chg="modSp">
        <pc:chgData name="Quincy Kosena" userId="34552e9c-390f-40b5-8a42-f626db2682ad" providerId="ADAL" clId="{48539556-DFC7-D249-8795-67459417A1A9}" dt="2020-06-24T02:09:05.539" v="76" actId="13926"/>
        <pc:sldMkLst>
          <pc:docMk/>
          <pc:sldMk cId="1974128877" sldId="276"/>
        </pc:sldMkLst>
        <pc:spChg chg="mod">
          <ac:chgData name="Quincy Kosena" userId="34552e9c-390f-40b5-8a42-f626db2682ad" providerId="ADAL" clId="{48539556-DFC7-D249-8795-67459417A1A9}" dt="2020-06-24T02:08:56.305" v="75" actId="13926"/>
          <ac:spMkLst>
            <pc:docMk/>
            <pc:sldMk cId="1974128877" sldId="276"/>
            <ac:spMk id="149" creationId="{19E86241-7566-4BD8-A343-433C72FDA016}"/>
          </ac:spMkLst>
        </pc:spChg>
        <pc:spChg chg="mod">
          <ac:chgData name="Quincy Kosena" userId="34552e9c-390f-40b5-8a42-f626db2682ad" providerId="ADAL" clId="{48539556-DFC7-D249-8795-67459417A1A9}" dt="2020-06-24T02:09:05.539" v="76" actId="13926"/>
          <ac:spMkLst>
            <pc:docMk/>
            <pc:sldMk cId="1974128877" sldId="276"/>
            <ac:spMk id="194" creationId="{A496A4E8-D001-48F6-B1CA-A7C82F826593}"/>
          </ac:spMkLst>
        </pc:spChg>
      </pc:sldChg>
      <pc:sldChg chg="modSp addCm modCm">
        <pc:chgData name="Quincy Kosena" userId="34552e9c-390f-40b5-8a42-f626db2682ad" providerId="ADAL" clId="{48539556-DFC7-D249-8795-67459417A1A9}" dt="2020-06-24T02:15:20.071" v="88"/>
        <pc:sldMkLst>
          <pc:docMk/>
          <pc:sldMk cId="931213806" sldId="277"/>
        </pc:sldMkLst>
        <pc:spChg chg="mod">
          <ac:chgData name="Quincy Kosena" userId="34552e9c-390f-40b5-8a42-f626db2682ad" providerId="ADAL" clId="{48539556-DFC7-D249-8795-67459417A1A9}" dt="2020-06-24T02:05:07.689" v="27" actId="13926"/>
          <ac:spMkLst>
            <pc:docMk/>
            <pc:sldMk cId="931213806" sldId="277"/>
            <ac:spMk id="13" creationId="{1A9361D6-79A9-46A9-B5F6-867EA0DF8DF0}"/>
          </ac:spMkLst>
        </pc:spChg>
        <pc:spChg chg="mod">
          <ac:chgData name="Quincy Kosena" userId="34552e9c-390f-40b5-8a42-f626db2682ad" providerId="ADAL" clId="{48539556-DFC7-D249-8795-67459417A1A9}" dt="2020-06-24T02:05:16.884" v="30" actId="13926"/>
          <ac:spMkLst>
            <pc:docMk/>
            <pc:sldMk cId="931213806" sldId="277"/>
            <ac:spMk id="16" creationId="{CC8DC9F1-F4B3-43F2-8707-1E1789933C7E}"/>
          </ac:spMkLst>
        </pc:spChg>
      </pc:sldChg>
      <pc:sldChg chg="addCm modCm">
        <pc:chgData name="Quincy Kosena" userId="34552e9c-390f-40b5-8a42-f626db2682ad" providerId="ADAL" clId="{48539556-DFC7-D249-8795-67459417A1A9}" dt="2020-06-24T02:15:07.284" v="86"/>
        <pc:sldMkLst>
          <pc:docMk/>
          <pc:sldMk cId="2319708511" sldId="278"/>
        </pc:sldMkLst>
      </pc:sldChg>
      <pc:sldChg chg="modSp addCm modCm">
        <pc:chgData name="Quincy Kosena" userId="34552e9c-390f-40b5-8a42-f626db2682ad" providerId="ADAL" clId="{48539556-DFC7-D249-8795-67459417A1A9}" dt="2020-06-24T02:15:00.055" v="84"/>
        <pc:sldMkLst>
          <pc:docMk/>
          <pc:sldMk cId="70112696" sldId="279"/>
        </pc:sldMkLst>
        <pc:spChg chg="mod">
          <ac:chgData name="Quincy Kosena" userId="34552e9c-390f-40b5-8a42-f626db2682ad" providerId="ADAL" clId="{48539556-DFC7-D249-8795-67459417A1A9}" dt="2020-06-24T02:04:44.233" v="24" actId="13926"/>
          <ac:spMkLst>
            <pc:docMk/>
            <pc:sldMk cId="70112696" sldId="279"/>
            <ac:spMk id="4" creationId="{D82F8B4F-62EF-4661-A165-E0A58E8B295E}"/>
          </ac:spMkLst>
        </pc:spChg>
        <pc:spChg chg="mod">
          <ac:chgData name="Quincy Kosena" userId="34552e9c-390f-40b5-8a42-f626db2682ad" providerId="ADAL" clId="{48539556-DFC7-D249-8795-67459417A1A9}" dt="2020-06-24T02:04:38.415" v="23" actId="13926"/>
          <ac:spMkLst>
            <pc:docMk/>
            <pc:sldMk cId="70112696" sldId="279"/>
            <ac:spMk id="20" creationId="{741457A3-C4F8-469D-94C5-D8D7E65FD796}"/>
          </ac:spMkLst>
        </pc:spChg>
      </pc:sldChg>
      <pc:sldChg chg="addCm modCm">
        <pc:chgData name="Quincy Kosena" userId="34552e9c-390f-40b5-8a42-f626db2682ad" providerId="ADAL" clId="{48539556-DFC7-D249-8795-67459417A1A9}" dt="2020-06-24T02:14:51.533" v="82"/>
        <pc:sldMkLst>
          <pc:docMk/>
          <pc:sldMk cId="3918680941" sldId="280"/>
        </pc:sldMkLst>
      </pc:sldChg>
      <pc:sldChg chg="modSp">
        <pc:chgData name="Quincy Kosena" userId="34552e9c-390f-40b5-8a42-f626db2682ad" providerId="ADAL" clId="{48539556-DFC7-D249-8795-67459417A1A9}" dt="2020-06-24T02:03:46.883" v="10" actId="13926"/>
        <pc:sldMkLst>
          <pc:docMk/>
          <pc:sldMk cId="166671708" sldId="288"/>
        </pc:sldMkLst>
        <pc:spChg chg="mod">
          <ac:chgData name="Quincy Kosena" userId="34552e9c-390f-40b5-8a42-f626db2682ad" providerId="ADAL" clId="{48539556-DFC7-D249-8795-67459417A1A9}" dt="2020-06-24T02:03:30.012" v="6" actId="13926"/>
          <ac:spMkLst>
            <pc:docMk/>
            <pc:sldMk cId="166671708" sldId="288"/>
            <ac:spMk id="4" creationId="{BEBA6688-56EF-4C10-A2DF-D076F7BDFC17}"/>
          </ac:spMkLst>
        </pc:spChg>
        <pc:spChg chg="mod">
          <ac:chgData name="Quincy Kosena" userId="34552e9c-390f-40b5-8a42-f626db2682ad" providerId="ADAL" clId="{48539556-DFC7-D249-8795-67459417A1A9}" dt="2020-06-24T02:03:46.883" v="10" actId="13926"/>
          <ac:spMkLst>
            <pc:docMk/>
            <pc:sldMk cId="166671708" sldId="288"/>
            <ac:spMk id="44" creationId="{CEE2126C-64FB-491E-86B8-4940321B3C37}"/>
          </ac:spMkLst>
        </pc:spChg>
      </pc:sldChg>
      <pc:sldChg chg="modSp">
        <pc:chgData name="Quincy Kosena" userId="34552e9c-390f-40b5-8a42-f626db2682ad" providerId="ADAL" clId="{48539556-DFC7-D249-8795-67459417A1A9}" dt="2020-06-24T02:02:49.680" v="0" actId="13926"/>
        <pc:sldMkLst>
          <pc:docMk/>
          <pc:sldMk cId="1583529098" sldId="289"/>
        </pc:sldMkLst>
        <pc:spChg chg="mod">
          <ac:chgData name="Quincy Kosena" userId="34552e9c-390f-40b5-8a42-f626db2682ad" providerId="ADAL" clId="{48539556-DFC7-D249-8795-67459417A1A9}" dt="2020-06-24T02:02:49.680" v="0" actId="13926"/>
          <ac:spMkLst>
            <pc:docMk/>
            <pc:sldMk cId="1583529098" sldId="289"/>
            <ac:spMk id="8" creationId="{637BEEA2-EA50-42EB-A7C5-FD48196C19E0}"/>
          </ac:spMkLst>
        </pc:spChg>
      </pc:sldChg>
      <pc:sldChg chg="modSp">
        <pc:chgData name="Quincy Kosena" userId="34552e9c-390f-40b5-8a42-f626db2682ad" providerId="ADAL" clId="{48539556-DFC7-D249-8795-67459417A1A9}" dt="2020-06-24T02:03:21.314" v="5" actId="20577"/>
        <pc:sldMkLst>
          <pc:docMk/>
          <pc:sldMk cId="415679646" sldId="292"/>
        </pc:sldMkLst>
        <pc:spChg chg="mod">
          <ac:chgData name="Quincy Kosena" userId="34552e9c-390f-40b5-8a42-f626db2682ad" providerId="ADAL" clId="{48539556-DFC7-D249-8795-67459417A1A9}" dt="2020-06-24T02:03:03.325" v="2" actId="13926"/>
          <ac:spMkLst>
            <pc:docMk/>
            <pc:sldMk cId="415679646" sldId="292"/>
            <ac:spMk id="4" creationId="{5B8CC845-66BF-4306-B2E1-F3B8F695FB1F}"/>
          </ac:spMkLst>
        </pc:spChg>
        <pc:spChg chg="mod">
          <ac:chgData name="Quincy Kosena" userId="34552e9c-390f-40b5-8a42-f626db2682ad" providerId="ADAL" clId="{48539556-DFC7-D249-8795-67459417A1A9}" dt="2020-06-24T02:03:05.970" v="3" actId="13926"/>
          <ac:spMkLst>
            <pc:docMk/>
            <pc:sldMk cId="415679646" sldId="292"/>
            <ac:spMk id="32" creationId="{621DD68A-03AD-46AA-9E8D-87711C3B2240}"/>
          </ac:spMkLst>
        </pc:spChg>
        <pc:spChg chg="mod">
          <ac:chgData name="Quincy Kosena" userId="34552e9c-390f-40b5-8a42-f626db2682ad" providerId="ADAL" clId="{48539556-DFC7-D249-8795-67459417A1A9}" dt="2020-06-24T02:03:09.335" v="4" actId="13926"/>
          <ac:spMkLst>
            <pc:docMk/>
            <pc:sldMk cId="415679646" sldId="292"/>
            <ac:spMk id="44" creationId="{78165ABF-2C19-4777-AE06-17B45FEFFBCE}"/>
          </ac:spMkLst>
        </pc:spChg>
        <pc:spChg chg="mod">
          <ac:chgData name="Quincy Kosena" userId="34552e9c-390f-40b5-8a42-f626db2682ad" providerId="ADAL" clId="{48539556-DFC7-D249-8795-67459417A1A9}" dt="2020-06-24T02:03:21.314" v="5" actId="20577"/>
          <ac:spMkLst>
            <pc:docMk/>
            <pc:sldMk cId="415679646" sldId="292"/>
            <ac:spMk id="46" creationId="{E1E4E43C-9FB1-436F-B9F0-87CE37C36E0F}"/>
          </ac:spMkLst>
        </pc:spChg>
      </pc:sldChg>
      <pc:sldChg chg="modSp">
        <pc:chgData name="Quincy Kosena" userId="34552e9c-390f-40b5-8a42-f626db2682ad" providerId="ADAL" clId="{48539556-DFC7-D249-8795-67459417A1A9}" dt="2020-06-24T02:08:41.318" v="73" actId="13926"/>
        <pc:sldMkLst>
          <pc:docMk/>
          <pc:sldMk cId="2478379273" sldId="2060"/>
        </pc:sldMkLst>
        <pc:spChg chg="mod">
          <ac:chgData name="Quincy Kosena" userId="34552e9c-390f-40b5-8a42-f626db2682ad" providerId="ADAL" clId="{48539556-DFC7-D249-8795-67459417A1A9}" dt="2020-06-24T02:08:36.801" v="72" actId="13926"/>
          <ac:spMkLst>
            <pc:docMk/>
            <pc:sldMk cId="2478379273" sldId="2060"/>
            <ac:spMk id="99" creationId="{5D22ACD0-A919-4A6F-80C5-62530151B81A}"/>
          </ac:spMkLst>
        </pc:spChg>
        <pc:spChg chg="mod">
          <ac:chgData name="Quincy Kosena" userId="34552e9c-390f-40b5-8a42-f626db2682ad" providerId="ADAL" clId="{48539556-DFC7-D249-8795-67459417A1A9}" dt="2020-06-24T02:08:41.318" v="73" actId="13926"/>
          <ac:spMkLst>
            <pc:docMk/>
            <pc:sldMk cId="2478379273" sldId="2060"/>
            <ac:spMk id="105" creationId="{C26EBC53-40FE-4663-B92D-5D223B91356D}"/>
          </ac:spMkLst>
        </pc:spChg>
      </pc:sldChg>
      <pc:sldChg chg="modSp">
        <pc:chgData name="Quincy Kosena" userId="34552e9c-390f-40b5-8a42-f626db2682ad" providerId="ADAL" clId="{48539556-DFC7-D249-8795-67459417A1A9}" dt="2020-06-24T02:04:08.172" v="17" actId="13926"/>
        <pc:sldMkLst>
          <pc:docMk/>
          <pc:sldMk cId="2407018841" sldId="2064"/>
        </pc:sldMkLst>
        <pc:spChg chg="mod">
          <ac:chgData name="Quincy Kosena" userId="34552e9c-390f-40b5-8a42-f626db2682ad" providerId="ADAL" clId="{48539556-DFC7-D249-8795-67459417A1A9}" dt="2020-06-24T02:03:59.070" v="13" actId="13926"/>
          <ac:spMkLst>
            <pc:docMk/>
            <pc:sldMk cId="2407018841" sldId="2064"/>
            <ac:spMk id="4" creationId="{0671BCE3-B3F5-414B-B271-63F0B666BF29}"/>
          </ac:spMkLst>
        </pc:spChg>
        <pc:spChg chg="mod">
          <ac:chgData name="Quincy Kosena" userId="34552e9c-390f-40b5-8a42-f626db2682ad" providerId="ADAL" clId="{48539556-DFC7-D249-8795-67459417A1A9}" dt="2020-06-24T02:04:08.172" v="17" actId="13926"/>
          <ac:spMkLst>
            <pc:docMk/>
            <pc:sldMk cId="2407018841" sldId="2064"/>
            <ac:spMk id="29" creationId="{7BDA6E7D-4854-465C-A715-4CE64CA31C7D}"/>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4F188F7-87C2-411D-A339-2988E25D7007}" type="datetimeFigureOut">
              <a:rPr lang="en-US"/>
              <a:t>7/29/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E892DE-5D22-4A59-9EBB-3C347E1044A1}" type="slidenum">
              <a:rPr lang="en-US"/>
              <a:t>‹#›</a:t>
            </a:fld>
            <a:endParaRPr lang="en-US"/>
          </a:p>
        </p:txBody>
      </p:sp>
    </p:spTree>
    <p:extLst>
      <p:ext uri="{BB962C8B-B14F-4D97-AF65-F5344CB8AC3E}">
        <p14:creationId xmlns:p14="http://schemas.microsoft.com/office/powerpoint/2010/main" val="13573720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See this: https://www.theverge.com/2020/4/9/21214314/microsoft-teams-usage-coronavirus-pandemic-work-habit-chang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9/2020 3:39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71568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ree </a:t>
            </a:r>
          </a:p>
          <a:p>
            <a:pPr marL="171450" indent="-171450">
              <a:buFont typeface="Arial" panose="020B0604020202020204" pitchFamily="34" charset="0"/>
              <a:buChar char="•"/>
            </a:pPr>
            <a:r>
              <a:rPr lang="en-US"/>
              <a:t>Global teams with 24/7 productivity</a:t>
            </a:r>
          </a:p>
          <a:p>
            <a:pPr marL="171450" indent="-171450">
              <a:buFont typeface="Arial" panose="020B0604020202020204" pitchFamily="34" charset="0"/>
              <a:buChar char="•"/>
            </a:pPr>
            <a:r>
              <a:rPr lang="en-US"/>
              <a:t>Increased productivity due to having all apps accessible via a central workspace</a:t>
            </a:r>
          </a:p>
          <a:p>
            <a:pPr marL="171450" indent="-171450">
              <a:buFont typeface="Arial" panose="020B0604020202020204" pitchFamily="34" charset="0"/>
              <a:buChar char="•"/>
            </a:pPr>
            <a:r>
              <a:rPr lang="en-US"/>
              <a:t>Natural adoption of Teams and O365 apps due to ease of use</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9/2020 3: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78171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alk track notes:</a:t>
            </a:r>
          </a:p>
          <a:p>
            <a:r>
              <a:rPr lang="en-US"/>
              <a:t>Hendrick Motorsports is a race car engine manufacturer and racing team. Not</a:t>
            </a:r>
            <a:r>
              <a:rPr lang="en-US" baseline="0"/>
              <a:t> the traditional team you might think of – they have people in the factory, people in the back office, and people on the track in the pit crew, all using Microsoft Teams. </a:t>
            </a:r>
            <a:r>
              <a:rPr lang="en-US"/>
              <a:t>These</a:t>
            </a:r>
            <a:r>
              <a:rPr lang="en-US" baseline="0"/>
              <a:t> scenarios are important to them. </a:t>
            </a:r>
            <a:endParaRPr lang="en-US" i="1"/>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9/2020 3: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85358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9/2020 3: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40180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419" sz="900" kern="120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19E01211-1A50-E143-827A-0DADEB0A41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55418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900" kern="120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19E01211-1A50-E143-827A-0DADEB0A41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82507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How do different departments use Teams?</a:t>
            </a:r>
            <a:endParaRPr lang="es-419" sz="900" kern="1200">
              <a:solidFill>
                <a:schemeClr val="tx1"/>
              </a:solidFill>
              <a:effectLst/>
              <a:latin typeface="Segoe UI Light" pitchFamily="34" charset="0"/>
              <a:ea typeface="+mn-ea"/>
              <a:cs typeface="+mn-cs"/>
            </a:endParaRPr>
          </a:p>
          <a:p>
            <a:endParaRPr lang="en-US"/>
          </a:p>
          <a:p>
            <a:r>
              <a:rPr lang="en-US"/>
              <a:t>Marketing teams can manage </a:t>
            </a:r>
            <a:r>
              <a:rPr lang="en-US" sz="1200" kern="1200">
                <a:solidFill>
                  <a:schemeClr val="tx1"/>
                </a:solidFill>
                <a:effectLst/>
                <a:latin typeface="+mn-lt"/>
                <a:ea typeface="+mn-ea"/>
                <a:cs typeface="+mn-cs"/>
              </a:rPr>
              <a:t>go-to-market, public relations, event planning and their budget within Teams. They can add guests e.g. agencies with secure guest access. They can connect relevant third-party services to each channel, such as Bing News Alerts, Twitter Connector, Adobe Creative Cloud, </a:t>
            </a:r>
            <a:r>
              <a:rPr lang="en-US" sz="1200" kern="1200" err="1">
                <a:solidFill>
                  <a:schemeClr val="tx1"/>
                </a:solidFill>
                <a:effectLst/>
                <a:latin typeface="+mn-lt"/>
                <a:ea typeface="+mn-ea"/>
                <a:cs typeface="+mn-cs"/>
              </a:rPr>
              <a:t>HootSuite</a:t>
            </a:r>
            <a:r>
              <a:rPr lang="en-US" sz="1200" kern="1200">
                <a:solidFill>
                  <a:schemeClr val="tx1"/>
                </a:solidFill>
                <a:effectLst/>
                <a:latin typeface="+mn-lt"/>
                <a:ea typeface="+mn-ea"/>
                <a:cs typeface="+mn-cs"/>
              </a:rPr>
              <a:t> and YouTube. </a:t>
            </a:r>
            <a:endParaRPr lang="en-US">
              <a:effectLst/>
            </a:endParaRPr>
          </a:p>
          <a:p>
            <a:endParaRPr lang="en-US"/>
          </a:p>
          <a:p>
            <a:pPr lvl="0"/>
            <a:r>
              <a:rPr lang="en-US" sz="1200" kern="1200">
                <a:solidFill>
                  <a:schemeClr val="tx1"/>
                </a:solidFill>
                <a:effectLst/>
                <a:latin typeface="+mn-lt"/>
                <a:ea typeface="+mn-ea"/>
                <a:cs typeface="+mn-cs"/>
              </a:rPr>
              <a:t>Sales teams can manage sales planning, RFP/Proposals. </a:t>
            </a:r>
            <a:r>
              <a:rPr lang="en-US" sz="1200">
                <a:solidFill>
                  <a:schemeClr val="tx1"/>
                </a:solidFill>
                <a:latin typeface="Segoe UI" panose="020B0502040204020203" pitchFamily="34" charset="0"/>
                <a:cs typeface="Segoe UI" panose="020B0502040204020203" pitchFamily="34" charset="0"/>
              </a:rPr>
              <a:t>Teams provides a single place where all this collaboration, reporting and knowledge sharing can happen. </a:t>
            </a:r>
            <a:r>
              <a:rPr lang="en-US" sz="1200" kern="1200">
                <a:solidFill>
                  <a:schemeClr val="tx1"/>
                </a:solidFill>
                <a:effectLst/>
                <a:latin typeface="+mn-lt"/>
                <a:ea typeface="+mn-ea"/>
                <a:cs typeface="+mn-cs"/>
              </a:rPr>
              <a:t>They can set up monthly business reviews as meetings in Teams. Document sharing e.g. sales playbooks can be done from within Teams. They can also use apps like </a:t>
            </a:r>
            <a:r>
              <a:rPr lang="en-US" sz="1200" kern="1200" err="1">
                <a:solidFill>
                  <a:schemeClr val="tx1"/>
                </a:solidFill>
                <a:effectLst/>
                <a:latin typeface="+mn-lt"/>
                <a:ea typeface="+mn-ea"/>
                <a:cs typeface="+mn-cs"/>
              </a:rPr>
              <a:t>PowerBI</a:t>
            </a:r>
            <a:r>
              <a:rPr lang="en-US" sz="1200" kern="1200">
                <a:solidFill>
                  <a:schemeClr val="tx1"/>
                </a:solidFill>
                <a:effectLst/>
                <a:latin typeface="+mn-lt"/>
                <a:ea typeface="+mn-ea"/>
                <a:cs typeface="+mn-cs"/>
              </a:rPr>
              <a:t>, Planner or even task management apps like Trello.</a:t>
            </a:r>
          </a:p>
          <a:p>
            <a:pPr lvl="0"/>
            <a:endParaRPr lang="en-US" sz="1200" kern="1200">
              <a:solidFill>
                <a:schemeClr val="tx1"/>
              </a:solidFill>
              <a:effectLst/>
              <a:latin typeface="+mn-lt"/>
              <a:ea typeface="+mn-ea"/>
              <a:cs typeface="+mn-cs"/>
            </a:endParaRPr>
          </a:p>
          <a:p>
            <a:pPr lvl="0"/>
            <a:r>
              <a:rPr lang="en-US" sz="1200" kern="1200">
                <a:solidFill>
                  <a:schemeClr val="tx1"/>
                </a:solidFill>
                <a:effectLst/>
                <a:latin typeface="+mn-lt"/>
                <a:ea typeface="+mn-ea"/>
                <a:cs typeface="+mn-cs"/>
              </a:rPr>
              <a:t>Finance teams can conduct their finance reviews within Teams and also share content around, business insights, audits, and compliance. </a:t>
            </a:r>
            <a:r>
              <a:rPr lang="en-US" sz="1200">
                <a:solidFill>
                  <a:schemeClr val="tx1"/>
                </a:solidFill>
                <a:latin typeface="Segoe UI" panose="020B0502040204020203" pitchFamily="34" charset="0"/>
                <a:cs typeface="Segoe UI" panose="020B0502040204020203" pitchFamily="34" charset="0"/>
              </a:rPr>
              <a:t>Teams provides a hub in which all files, data, conversations and meetings can happen in a single place, safely </a:t>
            </a:r>
            <a:r>
              <a:rPr lang="en-US" sz="1200">
                <a:solidFill>
                  <a:schemeClr val="tx1"/>
                </a:solidFill>
              </a:rPr>
              <a:t>and securely. </a:t>
            </a:r>
            <a:r>
              <a:rPr lang="en-US" sz="1200" kern="1200">
                <a:solidFill>
                  <a:schemeClr val="tx1"/>
                </a:solidFill>
                <a:effectLst/>
                <a:latin typeface="+mn-lt"/>
                <a:ea typeface="+mn-ea"/>
                <a:cs typeface="+mn-cs"/>
              </a:rPr>
              <a:t>They can easily share files like annual financial statement review or audit report and use apps like Excel, </a:t>
            </a:r>
            <a:r>
              <a:rPr lang="en-US" sz="1200" kern="1200" err="1">
                <a:solidFill>
                  <a:schemeClr val="tx1"/>
                </a:solidFill>
                <a:effectLst/>
                <a:latin typeface="+mn-lt"/>
                <a:ea typeface="+mn-ea"/>
                <a:cs typeface="+mn-cs"/>
              </a:rPr>
              <a:t>PowerBI</a:t>
            </a:r>
            <a:r>
              <a:rPr lang="en-US" sz="1200" kern="1200">
                <a:solidFill>
                  <a:schemeClr val="tx1"/>
                </a:solidFill>
                <a:effectLst/>
                <a:latin typeface="+mn-lt"/>
                <a:ea typeface="+mn-ea"/>
                <a:cs typeface="+mn-cs"/>
              </a:rPr>
              <a:t>, Planner or even pin critical files, internal or external websites to a tab</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HR teams can manage their recruitment, training, events, and reviews from within Teams. </a:t>
            </a:r>
            <a:r>
              <a:rPr lang="en-US" sz="1200">
                <a:solidFill>
                  <a:schemeClr val="tx1"/>
                </a:solidFill>
                <a:latin typeface="Segoe UI" panose="020B0502040204020203" pitchFamily="34" charset="0"/>
                <a:cs typeface="Segoe UI" panose="020B0502040204020203" pitchFamily="34" charset="0"/>
              </a:rPr>
              <a:t>Teams provides a single hub where HR professionals can collaborate, plan, share notes and communicate decisions.</a:t>
            </a:r>
            <a:r>
              <a:rPr lang="en-US" sz="1200" kern="1200">
                <a:solidFill>
                  <a:schemeClr val="tx1"/>
                </a:solidFill>
                <a:effectLst/>
                <a:latin typeface="+mn-lt"/>
                <a:ea typeface="+mn-ea"/>
                <a:cs typeface="+mn-cs"/>
              </a:rPr>
              <a:t> They can upload files to the channels e.g. HR policies, candidate information, offers extended, training or recruitment guidance notes, internal websites, feedback forms and surveys. Use a shared One Note or Wiki for candidate feedback. They can use Teams for training calls in Teams and do post training surveys on third party apps like Survey Monkey.</a:t>
            </a:r>
          </a:p>
          <a:p>
            <a:pPr lvl="0"/>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IT can leverage Teams a hub for service strategy, problem, incident and change, deployment, health and reporting, readiness and adoption, support and management and governance. They can set up connectors e.g. bots for process automation.</a:t>
            </a:r>
            <a:endParaRPr lang="en-US"/>
          </a:p>
          <a:p>
            <a:pPr lvl="0"/>
            <a:endParaRPr lang="en-US" sz="1200" kern="1200">
              <a:solidFill>
                <a:schemeClr val="tx1"/>
              </a:solidFill>
              <a:effectLst/>
              <a:latin typeface="+mn-lt"/>
              <a:ea typeface="+mn-ea"/>
              <a:cs typeface="+mn-cs"/>
            </a:endParaRPr>
          </a:p>
          <a:p>
            <a:pPr lvl="0"/>
            <a:r>
              <a:rPr lang="en-US" sz="1200" kern="1200">
                <a:solidFill>
                  <a:schemeClr val="tx1"/>
                </a:solidFill>
                <a:effectLst/>
                <a:latin typeface="+mn-lt"/>
                <a:ea typeface="+mn-ea"/>
                <a:cs typeface="+mn-cs"/>
              </a:rPr>
              <a:t>Engineering teams can leverage Teams for go-to-market, feature releases, testing, feedback, competitive information, research and product analytics. They can set up connectors or tabs for VSTS, JIRA, </a:t>
            </a:r>
            <a:r>
              <a:rPr lang="en-US" sz="1200" kern="1200" err="1">
                <a:solidFill>
                  <a:schemeClr val="tx1"/>
                </a:solidFill>
                <a:effectLst/>
                <a:latin typeface="+mn-lt"/>
                <a:ea typeface="+mn-ea"/>
                <a:cs typeface="+mn-cs"/>
              </a:rPr>
              <a:t>BitBucket</a:t>
            </a:r>
            <a:r>
              <a:rPr lang="en-US" sz="1200" kern="1200">
                <a:solidFill>
                  <a:schemeClr val="tx1"/>
                </a:solidFill>
                <a:effectLst/>
                <a:latin typeface="+mn-lt"/>
                <a:ea typeface="+mn-ea"/>
                <a:cs typeface="+mn-cs"/>
              </a:rPr>
              <a:t> and GitHub or leverage developer tools like </a:t>
            </a:r>
            <a:r>
              <a:rPr lang="en-US" sz="1200" kern="1200" err="1">
                <a:solidFill>
                  <a:schemeClr val="tx1"/>
                </a:solidFill>
                <a:effectLst/>
                <a:latin typeface="+mn-lt"/>
                <a:ea typeface="+mn-ea"/>
                <a:cs typeface="+mn-cs"/>
              </a:rPr>
              <a:t>Botkit</a:t>
            </a:r>
            <a:r>
              <a:rPr lang="en-US" sz="1200" kern="1200">
                <a:solidFill>
                  <a:schemeClr val="tx1"/>
                </a:solidFill>
                <a:effectLst/>
                <a:latin typeface="+mn-lt"/>
                <a:ea typeface="+mn-ea"/>
                <a:cs typeface="+mn-cs"/>
              </a:rPr>
              <a:t>. </a:t>
            </a:r>
            <a:r>
              <a:rPr lang="en-US" sz="1200">
                <a:solidFill>
                  <a:schemeClr val="tx1"/>
                </a:solidFill>
                <a:latin typeface="Segoe UI" panose="020B0502040204020203" pitchFamily="34" charset="0"/>
                <a:cs typeface="Segoe UI" panose="020B0502040204020203" pitchFamily="34" charset="0"/>
              </a:rPr>
              <a:t>Teams enables continuous discussion across a distributed team and is integrated with developer tools.</a:t>
            </a:r>
          </a:p>
          <a:p>
            <a:pPr lvl="0"/>
            <a:endParaRPr lang="en-US" sz="1200" kern="1200">
              <a:solidFill>
                <a:schemeClr val="tx1"/>
              </a:solidFill>
              <a:effectLst/>
              <a:latin typeface="Segoe UI" panose="020B0502040204020203" pitchFamily="34" charset="0"/>
              <a:ea typeface="+mn-ea"/>
              <a:cs typeface="Segoe UI" panose="020B0502040204020203" pitchFamily="34" charset="0"/>
            </a:endParaRPr>
          </a:p>
          <a:p>
            <a:pPr lvl="0"/>
            <a:r>
              <a:rPr lang="en-US" sz="1200" kern="1200">
                <a:solidFill>
                  <a:schemeClr val="tx1"/>
                </a:solidFill>
                <a:effectLst/>
                <a:latin typeface="Segoe UI" panose="020B0502040204020203" pitchFamily="34" charset="0"/>
                <a:ea typeface="+mn-ea"/>
                <a:cs typeface="Segoe UI" panose="020B0502040204020203" pitchFamily="34" charset="0"/>
              </a:rPr>
              <a:t>Project teams can leverage teams for </a:t>
            </a:r>
            <a:r>
              <a:rPr lang="en-US" sz="1200" kern="1200">
                <a:solidFill>
                  <a:schemeClr val="tx1"/>
                </a:solidFill>
                <a:effectLst/>
                <a:latin typeface="+mn-lt"/>
                <a:ea typeface="+mn-ea"/>
                <a:cs typeface="+mn-cs"/>
              </a:rPr>
              <a:t>planning, budget, analytics, reviews and feedback. They can use apps like Planner, </a:t>
            </a:r>
            <a:r>
              <a:rPr lang="en-US" sz="1200" kern="1200" err="1">
                <a:solidFill>
                  <a:schemeClr val="tx1"/>
                </a:solidFill>
                <a:effectLst/>
                <a:latin typeface="+mn-lt"/>
                <a:ea typeface="+mn-ea"/>
                <a:cs typeface="+mn-cs"/>
              </a:rPr>
              <a:t>PowerBI</a:t>
            </a:r>
            <a:r>
              <a:rPr lang="en-US" sz="1200" kern="1200">
                <a:solidFill>
                  <a:schemeClr val="tx1"/>
                </a:solidFill>
                <a:effectLst/>
                <a:latin typeface="+mn-lt"/>
                <a:ea typeface="+mn-ea"/>
                <a:cs typeface="+mn-cs"/>
              </a:rPr>
              <a:t> or set up connectors e.g. bots for process automation. </a:t>
            </a:r>
            <a:r>
              <a:rPr lang="en-US" sz="1200">
                <a:solidFill>
                  <a:schemeClr val="tx1"/>
                </a:solidFill>
                <a:latin typeface="Segoe UI" panose="020B0502040204020203" pitchFamily="34" charset="0"/>
                <a:cs typeface="Segoe UI" panose="020B0502040204020203" pitchFamily="34" charset="0"/>
              </a:rPr>
              <a:t>Teams enables collaboration in one central hub with all the tools needed to manage a project. </a:t>
            </a:r>
            <a:endParaRPr lang="en-US" sz="1200" kern="1200">
              <a:solidFill>
                <a:schemeClr val="tx1"/>
              </a:solidFill>
              <a:effectLst/>
              <a:latin typeface="Segoe UI" panose="020B0502040204020203" pitchFamily="34" charset="0"/>
              <a:ea typeface="+mn-ea"/>
              <a:cs typeface="Segoe UI" panose="020B0502040204020203" pitchFamily="34" charset="0"/>
            </a:endParaRPr>
          </a:p>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9/2020 3: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137621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Microsoft Teams provides a shared workspace that enables teams to communicate without effort through chats - across geographical boundaries. </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endParaRPr lang="es-419"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Chats are threaded, persistent and contextual </a:t>
            </a:r>
            <a:r>
              <a:rPr lang="en-US" sz="900" kern="1200" dirty="0">
                <a:solidFill>
                  <a:schemeClr val="tx1"/>
                </a:solidFill>
                <a:effectLst/>
                <a:latin typeface="Segoe UI Light" pitchFamily="34" charset="0"/>
                <a:ea typeface="+mn-ea"/>
                <a:cs typeface="+mn-cs"/>
              </a:rPr>
              <a:t>allowing your team to stay in the know and easily understand the context of the conversation. </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oday, teams are dynamic. Members, roles, priorities and goals can change, resulting in different communication needs.</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AIN POINT TO LAND]</a:t>
            </a:r>
            <a:endParaRPr lang="es-419"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In Teams, people can choose how to communicate. They can engage in private 1:1: chats, in group chats or in team conversations that are visible to the entire team. Team conversations are open by default. Working in the open has a transformative effect on the culture of a team and helps organizations move from personal to team productivity.</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We have recently added guest access, so you can now </a:t>
            </a:r>
            <a:r>
              <a:rPr lang="en-US" sz="900" b="1" kern="1200" dirty="0">
                <a:solidFill>
                  <a:schemeClr val="tx1"/>
                </a:solidFill>
                <a:effectLst/>
                <a:latin typeface="Segoe UI Light" pitchFamily="34" charset="0"/>
                <a:ea typeface="+mn-ea"/>
                <a:cs typeface="+mn-cs"/>
              </a:rPr>
              <a:t>chat with everyone </a:t>
            </a:r>
            <a:r>
              <a:rPr lang="en-US" sz="900" kern="1200" dirty="0">
                <a:solidFill>
                  <a:schemeClr val="tx1"/>
                </a:solidFill>
                <a:effectLst/>
                <a:latin typeface="Segoe UI Light" pitchFamily="34" charset="0"/>
                <a:ea typeface="+mn-ea"/>
                <a:cs typeface="+mn-cs"/>
              </a:rPr>
              <a:t>on your team, </a:t>
            </a:r>
            <a:r>
              <a:rPr lang="en-US" sz="900" b="1" kern="1200" dirty="0">
                <a:solidFill>
                  <a:schemeClr val="tx1"/>
                </a:solidFill>
                <a:effectLst/>
                <a:latin typeface="Segoe UI Light" pitchFamily="34" charset="0"/>
                <a:ea typeface="+mn-ea"/>
                <a:cs typeface="+mn-cs"/>
              </a:rPr>
              <a:t>whether they’re inside your organization or an outside partner.</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endParaRPr lang="es-419"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eams allows you to have fun together</a:t>
            </a:r>
            <a:r>
              <a:rPr lang="en-US" sz="900" kern="1200" dirty="0">
                <a:solidFill>
                  <a:schemeClr val="tx1"/>
                </a:solidFill>
                <a:effectLst/>
                <a:latin typeface="Segoe UI Light" pitchFamily="34" charset="0"/>
                <a:ea typeface="+mn-ea"/>
                <a:cs typeface="+mn-cs"/>
              </a:rPr>
              <a:t>. Successful collaboration is based on relationships. So, people can include emojis, memes and fun graphics in messages, which allows them to </a:t>
            </a:r>
            <a:r>
              <a:rPr lang="en-US" sz="900" b="1" kern="1200" dirty="0">
                <a:solidFill>
                  <a:schemeClr val="tx1"/>
                </a:solidFill>
                <a:effectLst/>
                <a:latin typeface="Segoe UI Light" pitchFamily="34" charset="0"/>
                <a:ea typeface="+mn-ea"/>
                <a:cs typeface="+mn-cs"/>
              </a:rPr>
              <a:t>show their personality, and humanize messages. </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ost teams have a fun channel to communicate about other topics than work. For example, when somebody joins the team, or has a baby – you can get to know the people beyond work interactions creating a culture of teamwork.</a:t>
            </a:r>
            <a:endParaRPr lang="es-419" sz="900" kern="1200" dirty="0">
              <a:solidFill>
                <a:schemeClr val="tx1"/>
              </a:solidFill>
              <a:effectLst/>
              <a:latin typeface="Segoe UI Light" pitchFamily="34" charset="0"/>
              <a:ea typeface="+mn-ea"/>
              <a:cs typeface="+mn-cs"/>
            </a:endParaRPr>
          </a:p>
          <a:p>
            <a:r>
              <a:rPr lang="en-US" sz="900" i="1" kern="1200" dirty="0">
                <a:solidFill>
                  <a:schemeClr val="tx1"/>
                </a:solidFill>
                <a:effectLst/>
                <a:latin typeface="Segoe UI Light" pitchFamily="34" charset="0"/>
                <a:ea typeface="+mn-ea"/>
                <a:cs typeface="+mn-cs"/>
              </a:rPr>
              <a:t> </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 can also use gifs, stickers, emojis to bring humor into the communication, and to soften messages. Changing the communication style can change the style of a team. You can worry less about formalities and focus more on the substance. </a:t>
            </a:r>
            <a:endParaRPr lang="es-419" sz="9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19E01211-1A50-E143-827A-0DADEB0A41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0938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419" sz="900" kern="120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19E01211-1A50-E143-827A-0DADEB0A41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16135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Information often lives across siloed services today – like mail, files, meetings, </a:t>
            </a:r>
            <a:r>
              <a:rPr lang="en-US" sz="900" kern="1200" dirty="0" err="1">
                <a:solidFill>
                  <a:schemeClr val="tx1"/>
                </a:solidFill>
                <a:effectLst/>
                <a:latin typeface="Segoe UI Light" pitchFamily="34" charset="0"/>
                <a:ea typeface="+mn-ea"/>
                <a:cs typeface="+mn-cs"/>
              </a:rPr>
              <a:t>PowerBI</a:t>
            </a:r>
            <a:r>
              <a:rPr lang="en-US" sz="900" kern="1200" dirty="0">
                <a:solidFill>
                  <a:schemeClr val="tx1"/>
                </a:solidFill>
                <a:effectLst/>
                <a:latin typeface="Segoe UI Light" pitchFamily="34" charset="0"/>
                <a:ea typeface="+mn-ea"/>
                <a:cs typeface="+mn-cs"/>
              </a:rPr>
              <a:t>/data, other SaaS services. </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AIN POINT TO LAND]</a:t>
            </a:r>
            <a:endParaRPr lang="es-419"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eams is a hub both for communication and collaboration that brings all these services together in one single workspace. So, teams have one less place to go to resulting in more time for productivity as you do not have to toggle between apps. </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ll your common tools, all the Office apps that people use every day - Word, Excel, PowerPoint, OneNote, SharePoint, even Power BI - are all built-in, giving people access to the files and tools they need right within Microsoft Teams.</a:t>
            </a:r>
            <a:endParaRPr lang="es-419"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Users can share, co-author and edit Office and other files right in the app. As all files are stored on SharePoint, the latest version of the file is always accessible to any member on the team. This enables organizations to democratize knowledge and give everybody access to the information they need to get their work done. </a:t>
            </a:r>
            <a:endParaRPr lang="es-419"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You can take notes with OneNote or access an integrated calendar from Outlook.</a:t>
            </a:r>
            <a:endParaRPr lang="es-419"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Microsoft Teams is also integrated with SharePoint, </a:t>
            </a:r>
            <a:r>
              <a:rPr lang="en-US" sz="900" kern="1200" dirty="0" err="1">
                <a:solidFill>
                  <a:schemeClr val="tx1"/>
                </a:solidFill>
                <a:effectLst/>
                <a:latin typeface="Segoe UI Light" pitchFamily="34" charset="0"/>
                <a:ea typeface="+mn-ea"/>
                <a:cs typeface="+mn-cs"/>
              </a:rPr>
              <a:t>PowerBI</a:t>
            </a:r>
            <a:r>
              <a:rPr lang="en-US" sz="900" kern="1200" dirty="0">
                <a:solidFill>
                  <a:schemeClr val="tx1"/>
                </a:solidFill>
                <a:effectLst/>
                <a:latin typeface="Segoe UI Light" pitchFamily="34" charset="0"/>
                <a:ea typeface="+mn-ea"/>
                <a:cs typeface="+mn-cs"/>
              </a:rPr>
              <a:t> and planner, so teams can work in a central place with all the necessary tools to pursue team objectives.</a:t>
            </a:r>
            <a:endParaRPr lang="es-419"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We’ve built integration with email, so users can forward an email into a Team’s channel for further discussion.</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icrosoft Teams leverages the intelligence of the Microsoft Graph. A team member can access org chart information and do searches for contacts within an organization. </a:t>
            </a:r>
            <a:endParaRPr lang="en-US" sz="12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19E01211-1A50-E143-827A-0DADEB0A41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14222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effectLst/>
              </a:rPr>
              <a:t>[</a:t>
            </a:r>
            <a:r>
              <a:rPr lang="en-US" sz="900" kern="1200" dirty="0">
                <a:solidFill>
                  <a:schemeClr val="tx1"/>
                </a:solidFill>
                <a:effectLst/>
                <a:latin typeface="Segoe UI Light" pitchFamily="34" charset="0"/>
                <a:ea typeface="+mn-ea"/>
                <a:cs typeface="+mn-cs"/>
              </a:rPr>
              <a:t>MAIN POINT TO LAND]</a:t>
            </a:r>
            <a:endParaRPr lang="es-419"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Every group is unique – both in structure and in style – so we have made it easy for teams to tailor their workspace to their needs and to include apps and services which are relevant to their team or project. </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 can set up your channels so that conversations on certain topics happen in designated spaces</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 can pin important files for quick reference for the whole team to access them in just one click. 	</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 can add intelligent bots to interact with Microsoft Teams. Bots can answer natural-language questions and perform lightweight tasks such as FAQs. </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 can bring in cloud services to explore data and get updates from Microsoft apps and 3</a:t>
            </a:r>
            <a:r>
              <a:rPr lang="en-US" sz="900" kern="1200" baseline="30000" dirty="0">
                <a:solidFill>
                  <a:schemeClr val="tx1"/>
                </a:solidFill>
                <a:effectLst/>
                <a:latin typeface="Segoe UI Light" pitchFamily="34" charset="0"/>
                <a:ea typeface="+mn-ea"/>
                <a:cs typeface="+mn-cs"/>
              </a:rPr>
              <a:t>rd</a:t>
            </a:r>
            <a:r>
              <a:rPr lang="en-US" sz="900" kern="1200" dirty="0">
                <a:solidFill>
                  <a:schemeClr val="tx1"/>
                </a:solidFill>
                <a:effectLst/>
                <a:latin typeface="Segoe UI Light" pitchFamily="34" charset="0"/>
                <a:ea typeface="+mn-ea"/>
                <a:cs typeface="+mn-cs"/>
              </a:rPr>
              <a:t> party apps. Where 3</a:t>
            </a:r>
            <a:r>
              <a:rPr lang="en-US" sz="900" kern="1200" baseline="30000" dirty="0">
                <a:solidFill>
                  <a:schemeClr val="tx1"/>
                </a:solidFill>
                <a:effectLst/>
                <a:latin typeface="Segoe UI Light" pitchFamily="34" charset="0"/>
                <a:ea typeface="+mn-ea"/>
                <a:cs typeface="+mn-cs"/>
              </a:rPr>
              <a:t>rd</a:t>
            </a:r>
            <a:r>
              <a:rPr lang="en-US" sz="900" kern="1200" dirty="0">
                <a:solidFill>
                  <a:schemeClr val="tx1"/>
                </a:solidFill>
                <a:effectLst/>
                <a:latin typeface="Segoe UI Light" pitchFamily="34" charset="0"/>
                <a:ea typeface="+mn-ea"/>
                <a:cs typeface="+mn-cs"/>
              </a:rPr>
              <a:t> party services are included, notifications can be customized so the team never misses a beat.</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o bring our users a breadth of customization options, we’re working with more than 150 partners.</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We have also created an extensible platform, to enable building apps with a rich set of capabilities to enable higher-performing teams. The Microsoft Teams developer platform enables integrations to your existing business process through publicly available APIs. IT can manage trusted apps for the employees and the organization. </a:t>
            </a:r>
            <a:endParaRPr lang="en-US" sz="900" dirty="0">
              <a:effectLst/>
            </a:endParaRPr>
          </a:p>
        </p:txBody>
      </p:sp>
      <p:sp>
        <p:nvSpPr>
          <p:cNvPr id="4" name="Slide Number Placeholder 3"/>
          <p:cNvSpPr>
            <a:spLocks noGrp="1"/>
          </p:cNvSpPr>
          <p:nvPr>
            <p:ph type="sldNum" sz="quarter" idx="10"/>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19E01211-1A50-E143-827A-0DADEB0A41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62241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Finally, Microsoft Teams provides industry leading security and compliance capabilities and rich management capabilities. </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With Microsoft Teams, customers benefit from the Office 365 hyper-scale, enterprise-grade cloud. </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AIN POINT TO LAND]</a:t>
            </a:r>
            <a:endParaRPr lang="es-419"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From Day 1, the requirement has been for Teams to provide you with the same Office 365 capabilities that you’re used to and to build security, privacy and trust directly into the service. </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 can manage and monitor all features in one centralized portal:</a:t>
            </a:r>
            <a:endParaRPr lang="es-419"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Data encryption at all times, at-rest and in-transit. </a:t>
            </a:r>
            <a:endParaRPr lang="es-419"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Customer data at rest remains in region</a:t>
            </a:r>
            <a:endParaRPr lang="es-419"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bility to have local data residency for core customer data at rest, plus failover and disaster recovery (see data residency slide in the appendix for details)</a:t>
            </a:r>
            <a:endParaRPr lang="es-419"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Human back-up via on-call support engineers standing by 24×7 </a:t>
            </a:r>
            <a:endParaRPr lang="es-419"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Customer content is never accessible in logs or telemetry</a:t>
            </a:r>
            <a:endParaRPr lang="es-419"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Multi-factor authentication for enhanced identity protection.</a:t>
            </a:r>
            <a:endParaRPr lang="es-419"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Secure guest access with AAD managed guest accounts</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 big privacy topic for all our European customers is of course GDPR – the Global Data Protection Regulation. We will adhere to this ahead of the May 2018 deadline</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icrosoft Teams supports key standards including SOC 1, SOC 2, EU Model Clauses, HIPPA, and more. Since preview, we’ve added mobile management with Microsoft Intune and new features for compliance and litigation support, including audit log search, eDiscovery and legal hold for channels, chats and files. </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Microsoft Teams admin center [coming early 2018] provides you with a single coherent admin experience where you can manage all aspects of Microsoft Teams including users, settings, and analytics.</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eams provides enterprise manageability to configure and set policies at a per-user level and manage trusted apps for employees and the organization. </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PSTN connectivity in Office 365 will give you the option to connect existing on-premises investments in the future.</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dvanced call management controls include call routing, auto attendant, call queues, and reporting.</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While security and compliance are critical, our responsibility goes beyond this. Our mission talks about empowering every person to achieve more. With that in mind, we’re focused on building an inclusive experience, including support for those who use screen readers, high contrast, and keyboard-only navigation, to enable the collective brainpower and potential of everyone. </a:t>
            </a:r>
            <a:endParaRPr lang="en-US" sz="900" dirty="0">
              <a:effectLst/>
              <a:latin typeface="Myriad Pro" panose="020B0503030403020204" pitchFamily="34" charset="0"/>
              <a:ea typeface="Times"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E01211-1A50-E143-827A-0DADEB0A414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128076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alk track notes:</a:t>
            </a:r>
          </a:p>
          <a:p>
            <a:r>
              <a:rPr lang="en-US"/>
              <a:t>Tre</a:t>
            </a:r>
            <a:r>
              <a:rPr lang="en-US" baseline="0"/>
              <a:t>k Bicycles was one of our launch customers. They are a global manufacturer of bicycles. These scenarios are especially important to them.</a:t>
            </a:r>
          </a:p>
          <a:p>
            <a:endParaRPr lang="en-US" baseline="0"/>
          </a:p>
          <a:p>
            <a:r>
              <a:rPr lang="en-US" baseline="0"/>
              <a:t>Video: https://www.youtube.com/watch?time_continue=3&amp;v=glMfn6alMyY </a:t>
            </a:r>
            <a:endParaRPr lang="en-US"/>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9/2020 3: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142255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 Walter Thompson</a:t>
            </a:r>
          </a:p>
          <a:p>
            <a:pPr marL="171450" indent="-171450">
              <a:buFont typeface="Arial" panose="020B0604020202020204" pitchFamily="34" charset="0"/>
              <a:buChar char="•"/>
            </a:pPr>
            <a:r>
              <a:rPr lang="en-US"/>
              <a:t>Global teams</a:t>
            </a:r>
          </a:p>
          <a:p>
            <a:pPr marL="171450" indent="-171450">
              <a:buFont typeface="Arial" panose="020B0604020202020204" pitchFamily="34" charset="0"/>
              <a:buChar char="•"/>
            </a:pPr>
            <a:r>
              <a:rPr lang="en-US"/>
              <a:t>Power of files and chat all in one place – persistent so can review at any time</a:t>
            </a:r>
          </a:p>
          <a:p>
            <a:pPr marL="171450" indent="-171450">
              <a:buFont typeface="Arial" panose="020B0604020202020204" pitchFamily="34" charset="0"/>
              <a:buChar char="•"/>
            </a:pPr>
            <a:r>
              <a:rPr lang="en-US"/>
              <a:t>UI mirrors how we work as humans</a:t>
            </a:r>
          </a:p>
          <a:p>
            <a:pPr marL="171450" indent="-171450">
              <a:buFont typeface="Arial" panose="020B0604020202020204" pitchFamily="34" charset="0"/>
              <a:buChar char="•"/>
            </a:pPr>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a:t>Video: https://www.youtube.com/watch?v=oZrynUTuyf0&amp;feature=youtu.be </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9/2020 3: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31883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Dentsu</a:t>
            </a:r>
            <a:r>
              <a:rPr lang="en-US"/>
              <a:t> Aegis Network</a:t>
            </a:r>
          </a:p>
          <a:p>
            <a:pPr marL="171450" indent="-171450">
              <a:buFont typeface="Arial" panose="020B0604020202020204" pitchFamily="34" charset="0"/>
              <a:buChar char="•"/>
            </a:pPr>
            <a:r>
              <a:rPr lang="en-US"/>
              <a:t>Fast rollout - “With minimal internal promotion and after just three months, we have 600 employees in 20 different digital and media brands working in Microsoft Teams collaboration hubs. </a:t>
            </a:r>
          </a:p>
          <a:p>
            <a:pPr marL="171450" indent="-171450">
              <a:buFont typeface="Arial" panose="020B0604020202020204" pitchFamily="34" charset="0"/>
              <a:buChar char="•"/>
            </a:pPr>
            <a:r>
              <a:rPr lang="en-US"/>
              <a:t>Open communication drives increased collaboration - Previously, brands tended to work in silos, but today, they have one space where they can coordinate deliverables for the same client with real-time chat, shared files, and OneNote notebooks</a:t>
            </a:r>
          </a:p>
          <a:p>
            <a:pPr marL="171450" indent="-171450">
              <a:buFont typeface="Arial" panose="020B0604020202020204" pitchFamily="34" charset="0"/>
              <a:buChar char="•"/>
            </a:pPr>
            <a:endParaRPr lang="en-US"/>
          </a:p>
          <a:p>
            <a:pPr marL="0" indent="0">
              <a:buFont typeface="Arial" panose="020B0604020202020204" pitchFamily="34" charset="0"/>
              <a:buNone/>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9/2020 3: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23210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6640778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179882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994715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1714646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062903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68012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272350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71025279"/>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3904488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5202199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578237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852417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4679240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3525166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3832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982136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965001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94335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4299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934914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8667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14889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81424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426072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4" name="Text Box 3">
            <a:extLst>
              <a:ext uri="{FF2B5EF4-FFF2-40B4-BE49-F238E27FC236}">
                <a16:creationId xmlns:a16="http://schemas.microsoft.com/office/drawing/2014/main" id="{382E09DF-3EB7-4BEA-8515-9960B51505CB}"/>
              </a:ext>
            </a:extLst>
          </p:cNvPr>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7A9268-A8C2-4E64-BD1E-93658B2F718C}"/>
              </a:ext>
            </a:extLst>
          </p:cNvPr>
          <p:cNvPicPr>
            <a:picLocks noChangeAspect="1"/>
          </p:cNvPicPr>
          <p:nvPr userDrawn="1"/>
        </p:nvPicPr>
        <p:blipFill>
          <a:blip r:embed="rId3"/>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797885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000406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Title Slide 1">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B07474A-8C3B-419C-A988-A552A3C7D0C1}"/>
              </a:ext>
            </a:extLst>
          </p:cNvPr>
          <p:cNvPicPr>
            <a:picLocks noChangeAspect="1"/>
          </p:cNvPicPr>
          <p:nvPr userDrawn="1"/>
        </p:nvPicPr>
        <p:blipFill rotWithShape="1">
          <a:blip r:embed="rId2"/>
          <a:srcRect l="738" t="4333" r="4914" b="16119"/>
          <a:stretch/>
        </p:blipFill>
        <p:spPr>
          <a:xfrm>
            <a:off x="0" y="0"/>
            <a:ext cx="12190271" cy="6858000"/>
          </a:xfrm>
          <a:custGeom>
            <a:avLst/>
            <a:gdLst>
              <a:gd name="connsiteX0" fmla="*/ 0 w 12434711"/>
              <a:gd name="connsiteY0" fmla="*/ 0 h 6994525"/>
              <a:gd name="connsiteX1" fmla="*/ 12434711 w 12434711"/>
              <a:gd name="connsiteY1" fmla="*/ 0 h 6994525"/>
              <a:gd name="connsiteX2" fmla="*/ 12434711 w 12434711"/>
              <a:gd name="connsiteY2" fmla="*/ 6994525 h 6994525"/>
              <a:gd name="connsiteX3" fmla="*/ 0 w 12434711"/>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12434711" h="6994525">
                <a:moveTo>
                  <a:pt x="0" y="0"/>
                </a:moveTo>
                <a:lnTo>
                  <a:pt x="12434711" y="0"/>
                </a:lnTo>
                <a:lnTo>
                  <a:pt x="12434711" y="6994525"/>
                </a:lnTo>
                <a:lnTo>
                  <a:pt x="0" y="6994525"/>
                </a:lnTo>
                <a:close/>
              </a:path>
            </a:pathLst>
          </a:custGeom>
        </p:spPr>
      </p:pic>
      <p:sp>
        <p:nvSpPr>
          <p:cNvPr id="4" name="Rectangle 3">
            <a:extLst>
              <a:ext uri="{FF2B5EF4-FFF2-40B4-BE49-F238E27FC236}">
                <a16:creationId xmlns:a16="http://schemas.microsoft.com/office/drawing/2014/main" id="{CB548E0F-7651-4A2E-BB80-C73F48284468}"/>
              </a:ext>
            </a:extLst>
          </p:cNvPr>
          <p:cNvSpPr/>
          <p:nvPr userDrawn="1"/>
        </p:nvSpPr>
        <p:spPr bwMode="auto">
          <a:xfrm>
            <a:off x="-1" y="0"/>
            <a:ext cx="10541502"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55994" y="2714560"/>
            <a:ext cx="5331792" cy="1793104"/>
          </a:xfrm>
          <a:noFill/>
        </p:spPr>
        <p:txBody>
          <a:bodyPr lIns="0" tIns="91440" rIns="146304" bIns="91440" anchor="b" anchorCtr="0"/>
          <a:lstStyle>
            <a:lvl1pPr marL="0" algn="l" defTabSz="896209" rtl="0" eaLnBrk="1" latinLnBrk="0" hangingPunct="1">
              <a:lnSpc>
                <a:spcPct val="90000"/>
              </a:lnSpc>
              <a:spcBef>
                <a:spcPct val="0"/>
              </a:spcBef>
              <a:buNone/>
              <a:defRPr lang="en-US" sz="3900"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2000"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11181" y="501767"/>
            <a:ext cx="2335327" cy="501766"/>
          </a:xfrm>
          <a:prstGeom prst="rect">
            <a:avLst/>
          </a:prstGeom>
        </p:spPr>
      </p:pic>
    </p:spTree>
    <p:extLst>
      <p:ext uri="{BB962C8B-B14F-4D97-AF65-F5344CB8AC3E}">
        <p14:creationId xmlns:p14="http://schemas.microsoft.com/office/powerpoint/2010/main" val="7959829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nchor="b">
            <a:spAutoFit/>
          </a:bodyPr>
          <a:lstStyle>
            <a:lvl1pPr>
              <a:lnSpc>
                <a:spcPts val="3137"/>
              </a:lnSpc>
              <a:defRPr sz="2700" strike="noStrike" spc="0">
                <a:solidFill>
                  <a:srgbClr val="2F2F2F"/>
                </a:solidFill>
              </a:defRPr>
            </a:lvl1pPr>
          </a:lstStyle>
          <a:p>
            <a:r>
              <a:rPr lang="en-US" dirty="0"/>
              <a:t>Title</a:t>
            </a:r>
          </a:p>
        </p:txBody>
      </p:sp>
    </p:spTree>
    <p:extLst>
      <p:ext uri="{BB962C8B-B14F-4D97-AF65-F5344CB8AC3E}">
        <p14:creationId xmlns:p14="http://schemas.microsoft.com/office/powerpoint/2010/main" val="98992388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55994" y="2126198"/>
            <a:ext cx="2680310" cy="4286639"/>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a:t>Drag photo here</a:t>
            </a:r>
          </a:p>
        </p:txBody>
      </p:sp>
      <p:sp>
        <p:nvSpPr>
          <p:cNvPr id="5" name="Picture Placeholder 3"/>
          <p:cNvSpPr>
            <a:spLocks noGrp="1"/>
          </p:cNvSpPr>
          <p:nvPr>
            <p:ph type="pic" sz="quarter" idx="11" hasCustomPrompt="1"/>
          </p:nvPr>
        </p:nvSpPr>
        <p:spPr>
          <a:xfrm>
            <a:off x="3331126" y="2126197"/>
            <a:ext cx="2680310" cy="4286639"/>
          </a:xfrm>
          <a:blipFill dpi="0" rotWithShape="1">
            <a:blip r:embed="rId3"/>
            <a:srcRect/>
            <a:stretch>
              <a:fillRect/>
            </a:stretch>
          </a:blipFill>
        </p:spPr>
        <p:txBody>
          <a:bodyPr anchor="t">
            <a:noAutofit/>
          </a:bodyPr>
          <a:lstStyle>
            <a:lvl1pPr marL="0" indent="0" algn="ctr">
              <a:buNone/>
              <a:defRPr sz="1800">
                <a:solidFill>
                  <a:schemeClr val="bg2"/>
                </a:solidFill>
              </a:defRPr>
            </a:lvl1pPr>
          </a:lstStyle>
          <a:p>
            <a:r>
              <a:rPr lang="en-US"/>
              <a:t>Drag photo here</a:t>
            </a:r>
          </a:p>
        </p:txBody>
      </p:sp>
      <p:sp>
        <p:nvSpPr>
          <p:cNvPr id="6" name="Picture Placeholder 3"/>
          <p:cNvSpPr>
            <a:spLocks noGrp="1"/>
          </p:cNvSpPr>
          <p:nvPr>
            <p:ph type="pic" sz="quarter" idx="12" hasCustomPrompt="1"/>
          </p:nvPr>
        </p:nvSpPr>
        <p:spPr>
          <a:xfrm>
            <a:off x="9081389" y="2126197"/>
            <a:ext cx="2680310" cy="4286639"/>
          </a:xfrm>
          <a:blipFill dpi="0" rotWithShape="1">
            <a:blip r:embed="rId4"/>
            <a:srcRect/>
            <a:stretch>
              <a:fillRect/>
            </a:stretch>
          </a:blipFill>
        </p:spPr>
        <p:txBody>
          <a:bodyPr anchor="t">
            <a:noAutofit/>
          </a:bodyPr>
          <a:lstStyle>
            <a:lvl1pPr marL="0" indent="0" algn="ctr">
              <a:buNone/>
              <a:defRPr sz="1800">
                <a:solidFill>
                  <a:schemeClr val="bg2"/>
                </a:solidFill>
              </a:defRPr>
            </a:lvl1pPr>
          </a:lstStyle>
          <a:p>
            <a:r>
              <a:rPr lang="en-US"/>
              <a:t>Drag photo here</a:t>
            </a:r>
          </a:p>
        </p:txBody>
      </p:sp>
      <p:sp>
        <p:nvSpPr>
          <p:cNvPr id="7" name="Picture Placeholder 3"/>
          <p:cNvSpPr>
            <a:spLocks noGrp="1"/>
          </p:cNvSpPr>
          <p:nvPr>
            <p:ph type="pic" sz="quarter" idx="13" hasCustomPrompt="1"/>
          </p:nvPr>
        </p:nvSpPr>
        <p:spPr>
          <a:xfrm>
            <a:off x="6206258" y="2126197"/>
            <a:ext cx="2680310" cy="4286639"/>
          </a:xfrm>
          <a:blipFill dpi="0" rotWithShape="1">
            <a:blip r:embed="rId5"/>
            <a:srcRect/>
            <a:stretch>
              <a:fillRect/>
            </a:stretch>
          </a:blipFill>
        </p:spPr>
        <p:txBody>
          <a:bodyPr anchor="t">
            <a:noAutofit/>
          </a:bodyPr>
          <a:lstStyle>
            <a:lvl1pPr marL="0" indent="0" algn="ctr">
              <a:buNone/>
              <a:defRPr sz="1800">
                <a:solidFill>
                  <a:schemeClr val="bg2"/>
                </a:solidFill>
              </a:defRPr>
            </a:lvl1pPr>
          </a:lstStyle>
          <a:p>
            <a:r>
              <a:rPr lang="en-US"/>
              <a:t>Drag photo he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00">
                <a:solidFill>
                  <a:srgbClr val="2F2F2F"/>
                </a:solidFill>
              </a:defRPr>
            </a:lvl1pPr>
          </a:lstStyle>
          <a:p>
            <a:r>
              <a:rPr lang="en-US"/>
              <a:t>Photo layout 2</a:t>
            </a:r>
          </a:p>
        </p:txBody>
      </p:sp>
      <p:sp>
        <p:nvSpPr>
          <p:cNvPr id="17" name="Text Placeholder 16"/>
          <p:cNvSpPr>
            <a:spLocks noGrp="1"/>
          </p:cNvSpPr>
          <p:nvPr>
            <p:ph type="body" sz="quarter" idx="14" hasCustomPrompt="1"/>
          </p:nvPr>
        </p:nvSpPr>
        <p:spPr>
          <a:xfrm>
            <a:off x="455994" y="4053249"/>
            <a:ext cx="2680310" cy="441146"/>
          </a:xfrm>
        </p:spPr>
        <p:txBody>
          <a:bodyPr/>
          <a:lstStyle>
            <a:lvl1pPr marL="0" indent="0" algn="ctr">
              <a:lnSpc>
                <a:spcPts val="1961"/>
              </a:lnSpc>
              <a:buNone/>
              <a:defRPr sz="1800">
                <a:solidFill>
                  <a:schemeClr val="bg2"/>
                </a:solidFill>
              </a:defRPr>
            </a:lvl1pPr>
          </a:lstStyle>
          <a:p>
            <a:pPr lvl="0"/>
            <a:r>
              <a:rPr lang="en-US"/>
              <a:t>Caption</a:t>
            </a:r>
          </a:p>
        </p:txBody>
      </p:sp>
      <p:sp>
        <p:nvSpPr>
          <p:cNvPr id="18" name="Text Placeholder 16"/>
          <p:cNvSpPr>
            <a:spLocks noGrp="1"/>
          </p:cNvSpPr>
          <p:nvPr>
            <p:ph type="body" sz="quarter" idx="15" hasCustomPrompt="1"/>
          </p:nvPr>
        </p:nvSpPr>
        <p:spPr>
          <a:xfrm>
            <a:off x="3331126" y="4053249"/>
            <a:ext cx="2680310" cy="441146"/>
          </a:xfrm>
        </p:spPr>
        <p:txBody>
          <a:bodyPr/>
          <a:lstStyle>
            <a:lvl1pPr marL="0" indent="0" algn="ctr">
              <a:lnSpc>
                <a:spcPts val="1961"/>
              </a:lnSpc>
              <a:buNone/>
              <a:defRPr sz="1800">
                <a:solidFill>
                  <a:schemeClr val="bg2"/>
                </a:solidFill>
              </a:defRPr>
            </a:lvl1pPr>
          </a:lstStyle>
          <a:p>
            <a:pPr lvl="0"/>
            <a:r>
              <a:rPr lang="en-US"/>
              <a:t>Caption</a:t>
            </a:r>
          </a:p>
        </p:txBody>
      </p:sp>
      <p:sp>
        <p:nvSpPr>
          <p:cNvPr id="19" name="Text Placeholder 16"/>
          <p:cNvSpPr>
            <a:spLocks noGrp="1"/>
          </p:cNvSpPr>
          <p:nvPr>
            <p:ph type="body" sz="quarter" idx="16" hasCustomPrompt="1"/>
          </p:nvPr>
        </p:nvSpPr>
        <p:spPr>
          <a:xfrm>
            <a:off x="6206258" y="4053249"/>
            <a:ext cx="2680310" cy="441146"/>
          </a:xfrm>
        </p:spPr>
        <p:txBody>
          <a:bodyPr/>
          <a:lstStyle>
            <a:lvl1pPr marL="0" indent="0" algn="ctr">
              <a:lnSpc>
                <a:spcPts val="1961"/>
              </a:lnSpc>
              <a:buNone/>
              <a:defRPr sz="1800">
                <a:solidFill>
                  <a:schemeClr val="bg2"/>
                </a:solidFill>
              </a:defRPr>
            </a:lvl1pPr>
          </a:lstStyle>
          <a:p>
            <a:pPr lvl="0"/>
            <a:r>
              <a:rPr lang="en-US"/>
              <a:t>Caption</a:t>
            </a:r>
          </a:p>
        </p:txBody>
      </p:sp>
      <p:sp>
        <p:nvSpPr>
          <p:cNvPr id="20" name="Text Placeholder 16"/>
          <p:cNvSpPr>
            <a:spLocks noGrp="1"/>
          </p:cNvSpPr>
          <p:nvPr>
            <p:ph type="body" sz="quarter" idx="17" hasCustomPrompt="1"/>
          </p:nvPr>
        </p:nvSpPr>
        <p:spPr>
          <a:xfrm>
            <a:off x="9081389" y="4053249"/>
            <a:ext cx="2680310" cy="441146"/>
          </a:xfrm>
        </p:spPr>
        <p:txBody>
          <a:bodyPr/>
          <a:lstStyle>
            <a:lvl1pPr marL="0" indent="0" algn="ctr">
              <a:lnSpc>
                <a:spcPts val="1961"/>
              </a:lnSpc>
              <a:buNone/>
              <a:defRPr sz="1800">
                <a:solidFill>
                  <a:schemeClr val="bg2"/>
                </a:solidFill>
              </a:defRPr>
            </a:lvl1pPr>
          </a:lstStyle>
          <a:p>
            <a:pPr lvl="0"/>
            <a:r>
              <a:rPr lang="en-US"/>
              <a:t>Caption</a:t>
            </a:r>
          </a:p>
        </p:txBody>
      </p:sp>
    </p:spTree>
    <p:extLst>
      <p:ext uri="{BB962C8B-B14F-4D97-AF65-F5344CB8AC3E}">
        <p14:creationId xmlns:p14="http://schemas.microsoft.com/office/powerpoint/2010/main" val="415792197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3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763562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7/29/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6273900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23330804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84200" y="585788"/>
            <a:ext cx="1366440" cy="292608"/>
          </a:xfrm>
          <a:prstGeom prst="rect">
            <a:avLst/>
          </a:prstGeom>
        </p:spPr>
      </p:pic>
      <p:grpSp>
        <p:nvGrpSpPr>
          <p:cNvPr id="7" name="Group 6">
            <a:extLst>
              <a:ext uri="{FF2B5EF4-FFF2-40B4-BE49-F238E27FC236}">
                <a16:creationId xmlns:a16="http://schemas.microsoft.com/office/drawing/2014/main" id="{29CC3C6F-0A69-4284-B809-AFDA182E6107}"/>
              </a:ext>
            </a:extLst>
          </p:cNvPr>
          <p:cNvGrpSpPr/>
          <p:nvPr userDrawn="1"/>
        </p:nvGrpSpPr>
        <p:grpSpPr>
          <a:xfrm>
            <a:off x="455996" y="440495"/>
            <a:ext cx="914788" cy="196431"/>
            <a:chOff x="465139" y="449264"/>
            <a:chExt cx="933131" cy="200341"/>
          </a:xfrm>
        </p:grpSpPr>
        <p:pic>
          <p:nvPicPr>
            <p:cNvPr id="8" name="Picture 7">
              <a:extLst>
                <a:ext uri="{FF2B5EF4-FFF2-40B4-BE49-F238E27FC236}">
                  <a16:creationId xmlns:a16="http://schemas.microsoft.com/office/drawing/2014/main" id="{D2350CD3-032F-48A9-8666-51D2BD4BFA1E}"/>
                </a:ext>
              </a:extLst>
            </p:cNvPr>
            <p:cNvPicPr>
              <a:picLocks noChangeAspect="1"/>
            </p:cNvPicPr>
            <p:nvPr userDrawn="1"/>
          </p:nvPicPr>
          <p:blipFill rotWithShape="1">
            <a:blip r:embed="rId3"/>
            <a:srcRect l="26716" r="872" b="4064"/>
            <a:stretch/>
          </p:blipFill>
          <p:spPr bwMode="black">
            <a:xfrm>
              <a:off x="721996" y="459092"/>
              <a:ext cx="676274" cy="187779"/>
            </a:xfrm>
            <a:prstGeom prst="rect">
              <a:avLst/>
            </a:prstGeom>
          </p:spPr>
        </p:pic>
        <p:pic>
          <p:nvPicPr>
            <p:cNvPr id="10" name="MS logo gray - EMF">
              <a:extLst>
                <a:ext uri="{FF2B5EF4-FFF2-40B4-BE49-F238E27FC236}">
                  <a16:creationId xmlns:a16="http://schemas.microsoft.com/office/drawing/2014/main" id="{1709FD76-81F3-4808-99A9-DEF7E5F603B9}"/>
                </a:ext>
              </a:extLst>
            </p:cNvPr>
            <p:cNvPicPr>
              <a:picLocks noChangeAspect="1"/>
            </p:cNvPicPr>
            <p:nvPr userDrawn="1"/>
          </p:nvPicPr>
          <p:blipFill rotWithShape="1">
            <a:blip r:embed="rId2"/>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2708372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552508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76446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95643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08418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ctr"/>
          <a:lstStyle/>
          <a:p>
            <a:r>
              <a:rPr lang="en-US" dirty="0"/>
              <a:t>Click to edit Master title style</a:t>
            </a:r>
          </a:p>
        </p:txBody>
      </p:sp>
    </p:spTree>
    <p:extLst>
      <p:ext uri="{BB962C8B-B14F-4D97-AF65-F5344CB8AC3E}">
        <p14:creationId xmlns:p14="http://schemas.microsoft.com/office/powerpoint/2010/main" val="41026332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40"/>
          <a:srcRect l="762"/>
          <a:stretch/>
        </p:blipFill>
        <p:spPr>
          <a:xfrm rot="5400000">
            <a:off x="9509760" y="2843773"/>
            <a:ext cx="6858000" cy="1170455"/>
          </a:xfrm>
          <a:prstGeom prst="rect">
            <a:avLst/>
          </a:prstGeom>
        </p:spPr>
      </p:pic>
      <p:pic>
        <p:nvPicPr>
          <p:cNvPr id="50" name="Picture 49">
            <a:extLst>
              <a:ext uri="{FF2B5EF4-FFF2-40B4-BE49-F238E27FC236}">
                <a16:creationId xmlns:a16="http://schemas.microsoft.com/office/drawing/2014/main" id="{A113E65B-D49E-4DD0-8A45-1556537CC2F8}"/>
              </a:ext>
            </a:extLst>
          </p:cNvPr>
          <p:cNvPicPr>
            <a:picLocks noChangeAspect="1"/>
          </p:cNvPicPr>
          <p:nvPr userDrawn="1"/>
        </p:nvPicPr>
        <p:blipFill>
          <a:blip r:embed="rId41"/>
          <a:stretch>
            <a:fillRect/>
          </a:stretch>
        </p:blipFill>
        <p:spPr>
          <a:xfrm rot="5400000">
            <a:off x="9179298" y="3012080"/>
            <a:ext cx="6858623" cy="833218"/>
          </a:xfrm>
          <a:prstGeom prst="rect">
            <a:avLst/>
          </a:prstGeom>
        </p:spPr>
      </p:pic>
    </p:spTree>
    <p:extLst>
      <p:ext uri="{BB962C8B-B14F-4D97-AF65-F5344CB8AC3E}">
        <p14:creationId xmlns:p14="http://schemas.microsoft.com/office/powerpoint/2010/main" val="3336685856"/>
      </p:ext>
    </p:extLst>
  </p:cSld>
  <p:clrMap bg1="lt1" tx1="dk1" bg2="lt2" tx2="dk2" accent1="accent1" accent2="accent2" accent3="accent3" accent4="accent4" accent5="accent5" accent6="accent6" hlink="hlink" folHlink="folHlink"/>
  <p:sldLayoutIdLst>
    <p:sldLayoutId id="2147484842" r:id="rId1"/>
    <p:sldLayoutId id="2147484843" r:id="rId2"/>
    <p:sldLayoutId id="2147484844" r:id="rId3"/>
    <p:sldLayoutId id="2147484845" r:id="rId4"/>
    <p:sldLayoutId id="2147484846" r:id="rId5"/>
    <p:sldLayoutId id="2147484847" r:id="rId6"/>
    <p:sldLayoutId id="2147484848" r:id="rId7"/>
    <p:sldLayoutId id="2147484849" r:id="rId8"/>
    <p:sldLayoutId id="2147484850" r:id="rId9"/>
    <p:sldLayoutId id="2147484851" r:id="rId10"/>
    <p:sldLayoutId id="2147484852" r:id="rId11"/>
    <p:sldLayoutId id="2147484853" r:id="rId12"/>
    <p:sldLayoutId id="2147484854" r:id="rId13"/>
    <p:sldLayoutId id="2147484855" r:id="rId14"/>
    <p:sldLayoutId id="2147484856" r:id="rId15"/>
    <p:sldLayoutId id="2147484857" r:id="rId16"/>
    <p:sldLayoutId id="2147484858" r:id="rId17"/>
    <p:sldLayoutId id="2147484859" r:id="rId18"/>
    <p:sldLayoutId id="2147484860" r:id="rId19"/>
    <p:sldLayoutId id="2147484861" r:id="rId20"/>
    <p:sldLayoutId id="2147484862" r:id="rId21"/>
    <p:sldLayoutId id="2147484863" r:id="rId22"/>
    <p:sldLayoutId id="2147484864" r:id="rId23"/>
    <p:sldLayoutId id="2147484865" r:id="rId24"/>
    <p:sldLayoutId id="2147484866" r:id="rId25"/>
    <p:sldLayoutId id="2147484867" r:id="rId26"/>
    <p:sldLayoutId id="2147484868" r:id="rId27"/>
    <p:sldLayoutId id="2147484869" r:id="rId28"/>
    <p:sldLayoutId id="2147484870" r:id="rId29"/>
    <p:sldLayoutId id="2147484871" r:id="rId30"/>
    <p:sldLayoutId id="2147484872" r:id="rId31"/>
    <p:sldLayoutId id="2147484873" r:id="rId32"/>
    <p:sldLayoutId id="2147484874" r:id="rId33"/>
    <p:sldLayoutId id="2147484875" r:id="rId34"/>
    <p:sldLayoutId id="2147484876" r:id="rId35"/>
    <p:sldLayoutId id="2147484877" r:id="rId36"/>
    <p:sldLayoutId id="2147484885" r:id="rId37"/>
    <p:sldLayoutId id="2147484886" r:id="rId38"/>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1354" userDrawn="1">
          <p15:clr>
            <a:srgbClr val="C35EA4"/>
          </p15:clr>
        </p15:guide>
        <p15:guide id="32" pos="1498" userDrawn="1">
          <p15:clr>
            <a:srgbClr val="C35EA4"/>
          </p15:clr>
        </p15:guide>
        <p15:guide id="33" pos="2567" userDrawn="1">
          <p15:clr>
            <a:srgbClr val="C35EA4"/>
          </p15:clr>
        </p15:guide>
        <p15:guide id="34" pos="2711" userDrawn="1">
          <p15:clr>
            <a:srgbClr val="C35EA4"/>
          </p15:clr>
        </p15:guide>
        <p15:guide id="35" pos="3778" userDrawn="1">
          <p15:clr>
            <a:srgbClr val="C35EA4"/>
          </p15:clr>
        </p15:guide>
        <p15:guide id="36" pos="3924" userDrawn="1">
          <p15:clr>
            <a:srgbClr val="C35EA4"/>
          </p15:clr>
        </p15:guide>
        <p15:guide id="37" pos="4983" userDrawn="1">
          <p15:clr>
            <a:srgbClr val="C35EA4"/>
          </p15:clr>
        </p15:guide>
        <p15:guide id="38" pos="5127" userDrawn="1">
          <p15:clr>
            <a:srgbClr val="C35EA4"/>
          </p15:clr>
        </p15:guide>
        <p15:guide id="39" pos="6199" userDrawn="1">
          <p15:clr>
            <a:srgbClr val="C35EA4"/>
          </p15:clr>
        </p15:guide>
        <p15:guide id="40" pos="6342" userDrawn="1">
          <p15:clr>
            <a:srgbClr val="C35EA4"/>
          </p15:clr>
        </p15:guide>
        <p15:guide id="41" pos="287" userDrawn="1">
          <p15:clr>
            <a:srgbClr val="F26B43"/>
          </p15:clr>
        </p15:guide>
        <p15:guide id="42" pos="7409" userDrawn="1">
          <p15:clr>
            <a:srgbClr val="F26B43"/>
          </p15:clr>
        </p15:guide>
        <p15:guide id="43" orient="horz" pos="736" userDrawn="1">
          <p15:clr>
            <a:srgbClr val="5ACBF0"/>
          </p15:clr>
        </p15:guide>
        <p15:guide id="44" orient="horz" pos="1339" userDrawn="1">
          <p15:clr>
            <a:srgbClr val="5ACBF0"/>
          </p15:clr>
        </p15:guide>
        <p15:guide id="45" orient="horz" pos="593" userDrawn="1">
          <p15:clr>
            <a:srgbClr val="5ACBF0"/>
          </p15:clr>
        </p15:guide>
        <p15:guide id="46" orient="horz" pos="1484" userDrawn="1">
          <p15:clr>
            <a:srgbClr val="5ACBF0"/>
          </p15:clr>
        </p15:guide>
        <p15:guide id="47" orient="horz" pos="2088" userDrawn="1">
          <p15:clr>
            <a:srgbClr val="5ACBF0"/>
          </p15:clr>
        </p15:guide>
        <p15:guide id="48" orient="horz" pos="2231" userDrawn="1">
          <p15:clr>
            <a:srgbClr val="5ACBF0"/>
          </p15:clr>
        </p15:guide>
        <p15:guide id="49" orient="horz" pos="277" userDrawn="1">
          <p15:clr>
            <a:srgbClr val="F26B43"/>
          </p15:clr>
        </p15:guide>
        <p15:guide id="50" orient="horz" pos="4040" userDrawn="1">
          <p15:clr>
            <a:srgbClr val="F26B43"/>
          </p15:clr>
        </p15:guide>
        <p15:guide id="51" orient="horz" pos="2835" userDrawn="1">
          <p15:clr>
            <a:srgbClr val="5ACBF0"/>
          </p15:clr>
        </p15:guide>
        <p15:guide id="52" orient="horz" pos="2979" userDrawn="1">
          <p15:clr>
            <a:srgbClr val="5ACBF0"/>
          </p15:clr>
        </p15:guide>
        <p15:guide id="53" orient="horz" pos="3583" userDrawn="1">
          <p15:clr>
            <a:srgbClr val="5ACBF0"/>
          </p15:clr>
        </p15:guide>
        <p15:guide id="54" orient="horz" pos="3726" userDrawn="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5.emf"/><Relationship Id="rId1" Type="http://schemas.openxmlformats.org/officeDocument/2006/relationships/slideLayout" Target="../slideLayouts/slideLayout28.xml"/><Relationship Id="rId4" Type="http://schemas.openxmlformats.org/officeDocument/2006/relationships/image" Target="../media/image17.tiff"/></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26.tiff"/></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9.xml"/><Relationship Id="rId5" Type="http://schemas.openxmlformats.org/officeDocument/2006/relationships/image" Target="../media/image18.png"/><Relationship Id="rId4" Type="http://schemas.openxmlformats.org/officeDocument/2006/relationships/image" Target="../media/image28.jpeg"/></Relationships>
</file>

<file path=ppt/slides/_rels/slide1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8.xml"/><Relationship Id="rId1" Type="http://schemas.openxmlformats.org/officeDocument/2006/relationships/slideLayout" Target="../slideLayouts/slideLayout9.xml"/><Relationship Id="rId5" Type="http://schemas.openxmlformats.org/officeDocument/2006/relationships/image" Target="../media/image30.jpeg"/><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9.xml"/><Relationship Id="rId5" Type="http://schemas.openxmlformats.org/officeDocument/2006/relationships/image" Target="../media/image32.jpeg"/><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9.xml"/><Relationship Id="rId5" Type="http://schemas.openxmlformats.org/officeDocument/2006/relationships/image" Target="../media/image34.jpeg"/><Relationship Id="rId4" Type="http://schemas.openxmlformats.org/officeDocument/2006/relationships/image" Target="../media/image33.jpeg"/></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9.xml"/><Relationship Id="rId5" Type="http://schemas.openxmlformats.org/officeDocument/2006/relationships/image" Target="../media/image36.png"/><Relationship Id="rId4" Type="http://schemas.openxmlformats.org/officeDocument/2006/relationships/image" Target="../media/image35.jpeg"/></Relationships>
</file>

<file path=ppt/slides/_rels/slide16.xml.rels><?xml version="1.0" encoding="UTF-8" standalone="yes"?>
<Relationships xmlns="http://schemas.openxmlformats.org/package/2006/relationships"><Relationship Id="rId3" Type="http://schemas.openxmlformats.org/officeDocument/2006/relationships/hyperlink" Target="http://fasttrack.microsoft.com/office/envision/productivitylibrary/provide-a-chat-based-workspace" TargetMode="External"/><Relationship Id="rId7" Type="http://schemas.openxmlformats.org/officeDocument/2006/relationships/image" Target="../media/image37.jpg"/><Relationship Id="rId2" Type="http://schemas.openxmlformats.org/officeDocument/2006/relationships/image" Target="../media/image18.png"/><Relationship Id="rId1" Type="http://schemas.openxmlformats.org/officeDocument/2006/relationships/slideLayout" Target="../slideLayouts/slideLayout9.xml"/><Relationship Id="rId6" Type="http://schemas.openxmlformats.org/officeDocument/2006/relationships/hyperlink" Target="https://teams.microsoft.com/downloads" TargetMode="External"/><Relationship Id="rId5" Type="http://schemas.openxmlformats.org/officeDocument/2006/relationships/hyperlink" Target="https://teams.microsoft.com/start" TargetMode="External"/><Relationship Id="rId4" Type="http://schemas.openxmlformats.org/officeDocument/2006/relationships/hyperlink" Target="https://aka.ms/SuccessWithTeams"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9.xml"/><Relationship Id="rId4" Type="http://schemas.openxmlformats.org/officeDocument/2006/relationships/image" Target="../media/image38.png"/></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image" Target="../media/image39.jpeg"/></Relationships>
</file>

<file path=ppt/slides/_rels/slide2.xml.rels><?xml version="1.0" encoding="UTF-8" standalone="yes"?>
<Relationships xmlns="http://schemas.openxmlformats.org/package/2006/relationships"><Relationship Id="rId3" Type="http://schemas.openxmlformats.org/officeDocument/2006/relationships/hyperlink" Target="https://www.theverge.com/2020/4/9/21214314/microsoft-teams-usage-coronavirus-pandemic-work-habit-change" TargetMode="External"/><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hyperlink" Target="https://fasttrack.microsoft.com/#/office/envision/productivitylibrary/provide-a-chat-based-workspace" TargetMode="External"/><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9.xml"/><Relationship Id="rId4" Type="http://schemas.openxmlformats.org/officeDocument/2006/relationships/image" Target="../media/image21.jpeg"/></Relationships>
</file>

<file path=ppt/slides/_rels/slide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23.png"/><Relationship Id="rId4" Type="http://schemas.openxmlformats.org/officeDocument/2006/relationships/image" Target="../media/image22.tiff"/></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25.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5C812D5A-F67B-4135-9A0D-28E81AE52E99}"/>
              </a:ext>
            </a:extLst>
          </p:cNvPr>
          <p:cNvGrpSpPr/>
          <p:nvPr/>
        </p:nvGrpSpPr>
        <p:grpSpPr>
          <a:xfrm>
            <a:off x="584192" y="2355843"/>
            <a:ext cx="4547402" cy="2146307"/>
            <a:chOff x="584192" y="2355843"/>
            <a:chExt cx="4547402" cy="2146307"/>
          </a:xfrm>
        </p:grpSpPr>
        <p:sp>
          <p:nvSpPr>
            <p:cNvPr id="8" name="Title 3">
              <a:extLst>
                <a:ext uri="{FF2B5EF4-FFF2-40B4-BE49-F238E27FC236}">
                  <a16:creationId xmlns:a16="http://schemas.microsoft.com/office/drawing/2014/main" id="{637BEEA2-EA50-42EB-A7C5-FD48196C19E0}"/>
                </a:ext>
              </a:extLst>
            </p:cNvPr>
            <p:cNvSpPr txBox="1">
              <a:spLocks/>
            </p:cNvSpPr>
            <p:nvPr/>
          </p:nvSpPr>
          <p:spPr>
            <a:xfrm>
              <a:off x="696909" y="2459504"/>
              <a:ext cx="4434685" cy="1938992"/>
            </a:xfrm>
            <a:prstGeom prst="rect">
              <a:avLst/>
            </a:prstGeom>
            <a:solidFill>
              <a:srgbClr val="4B53BC"/>
            </a:solidFill>
          </p:spPr>
          <p:txBody>
            <a:bodyPr vert="horz" wrap="square" lIns="137160" tIns="45720" rIns="88900" bIns="45720" rtlCol="0" anchor="ctr">
              <a:noAutofit/>
            </a:bodyPr>
            <a:lstStyle>
              <a:defPPr>
                <a:defRPr lang="fr-fr"/>
              </a:defPPr>
              <a:lvl1pPr defTabSz="932742">
                <a:lnSpc>
                  <a:spcPct val="100000"/>
                </a:lnSpc>
                <a:spcBef>
                  <a:spcPct val="0"/>
                </a:spcBef>
                <a:buNone/>
                <a:defRPr sz="4000" b="0" cap="none" spc="-50" baseline="0">
                  <a:ln w="3175">
                    <a:noFill/>
                  </a:ln>
                  <a:solidFill>
                    <a:schemeClr val="bg1"/>
                  </a:solidFill>
                  <a:effectLst/>
                  <a:latin typeface="+mj-lt"/>
                  <a:cs typeface="Segoe UI" pitchFamily="34" charset="0"/>
                </a:defRPr>
              </a:lvl1pPr>
            </a:lstStyle>
            <a:p>
              <a:pPr algn="l" rtl="0"/>
              <a:r>
                <a:rPr lang="fr-fr" b="0" i="0" u="none" baseline="0">
                  <a:cs typeface="Segoe UI"/>
                </a:rPr>
                <a:t>Rester </a:t>
              </a:r>
              <a:br>
                <a:rPr lang="fr-fr" dirty="0"/>
              </a:br>
              <a:r>
                <a:rPr lang="fr-fr" b="0" i="0" u="none" baseline="0">
                  <a:cs typeface="Segoe UI"/>
                </a:rPr>
                <a:t>connecté avec Microsoft Teams</a:t>
              </a:r>
            </a:p>
          </p:txBody>
        </p:sp>
        <p:sp>
          <p:nvSpPr>
            <p:cNvPr id="2" name="Arrow: Bent-Up 1">
              <a:extLst>
                <a:ext uri="{FF2B5EF4-FFF2-40B4-BE49-F238E27FC236}">
                  <a16:creationId xmlns:a16="http://schemas.microsoft.com/office/drawing/2014/main" id="{50ECDEEF-2AD9-4C0F-B010-337C1A61D14A}"/>
                </a:ext>
              </a:extLst>
            </p:cNvPr>
            <p:cNvSpPr/>
            <p:nvPr/>
          </p:nvSpPr>
          <p:spPr bwMode="auto">
            <a:xfrm rot="10800000">
              <a:off x="584192" y="2355843"/>
              <a:ext cx="4514064" cy="755651"/>
            </a:xfrm>
            <a:prstGeom prst="bentUpArrow">
              <a:avLst>
                <a:gd name="adj1" fmla="val 0"/>
                <a:gd name="adj2" fmla="val 0"/>
                <a:gd name="adj3" fmla="val 0"/>
              </a:avLst>
            </a:prstGeom>
            <a:solidFill>
              <a:schemeClr val="accent1"/>
            </a:solidFill>
            <a:ln w="63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2" name="Arrow: Bent-Up 11">
              <a:extLst>
                <a:ext uri="{FF2B5EF4-FFF2-40B4-BE49-F238E27FC236}">
                  <a16:creationId xmlns:a16="http://schemas.microsoft.com/office/drawing/2014/main" id="{B6E02512-62C6-43BA-8190-B956C9DC1E5D}"/>
                </a:ext>
              </a:extLst>
            </p:cNvPr>
            <p:cNvSpPr/>
            <p:nvPr/>
          </p:nvSpPr>
          <p:spPr bwMode="auto">
            <a:xfrm rot="10800000" flipV="1">
              <a:off x="584192" y="4209541"/>
              <a:ext cx="4514064" cy="292609"/>
            </a:xfrm>
            <a:prstGeom prst="bentUpArrow">
              <a:avLst>
                <a:gd name="adj1" fmla="val 0"/>
                <a:gd name="adj2" fmla="val 0"/>
                <a:gd name="adj3" fmla="val 0"/>
              </a:avLst>
            </a:prstGeom>
            <a:solidFill>
              <a:schemeClr val="accent1"/>
            </a:solidFill>
            <a:ln w="63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F32A1A1D-24AE-4D00-8407-EF9425423033}"/>
                </a:ext>
              </a:extLst>
            </p:cNvPr>
            <p:cNvCxnSpPr>
              <a:cxnSpLocks/>
            </p:cNvCxnSpPr>
            <p:nvPr/>
          </p:nvCxnSpPr>
          <p:spPr>
            <a:xfrm>
              <a:off x="584193" y="3214688"/>
              <a:ext cx="0" cy="549592"/>
            </a:xfrm>
            <a:prstGeom prst="line">
              <a:avLst/>
            </a:prstGeom>
            <a:solidFill>
              <a:schemeClr val="accent1"/>
            </a:solidFill>
            <a:ln w="63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 name="Straight Connector 14">
              <a:extLst>
                <a:ext uri="{FF2B5EF4-FFF2-40B4-BE49-F238E27FC236}">
                  <a16:creationId xmlns:a16="http://schemas.microsoft.com/office/drawing/2014/main" id="{7B6B3AAB-AAF9-46EF-81C4-A12F1C35849F}"/>
                </a:ext>
              </a:extLst>
            </p:cNvPr>
            <p:cNvCxnSpPr>
              <a:cxnSpLocks/>
            </p:cNvCxnSpPr>
            <p:nvPr/>
          </p:nvCxnSpPr>
          <p:spPr>
            <a:xfrm>
              <a:off x="584193" y="3863340"/>
              <a:ext cx="0" cy="251460"/>
            </a:xfrm>
            <a:prstGeom prst="line">
              <a:avLst/>
            </a:prstGeom>
            <a:solidFill>
              <a:schemeClr val="accent1"/>
            </a:solidFill>
            <a:ln w="63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7" name="Rectangle 6">
            <a:extLst>
              <a:ext uri="{FF2B5EF4-FFF2-40B4-BE49-F238E27FC236}">
                <a16:creationId xmlns:a16="http://schemas.microsoft.com/office/drawing/2014/main" id="{FE5FAE11-94BF-4A08-89F8-8A2B40A98068}"/>
              </a:ext>
            </a:extLst>
          </p:cNvPr>
          <p:cNvSpPr/>
          <p:nvPr/>
        </p:nvSpPr>
        <p:spPr bwMode="auto">
          <a:xfrm>
            <a:off x="5842001" y="0"/>
            <a:ext cx="63500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pic>
        <p:nvPicPr>
          <p:cNvPr id="9" name="MS logo gray - EMF" descr="Microsoft logo, gray text version">
            <a:extLst>
              <a:ext uri="{FF2B5EF4-FFF2-40B4-BE49-F238E27FC236}">
                <a16:creationId xmlns:a16="http://schemas.microsoft.com/office/drawing/2014/main" id="{44266DA8-584F-47DB-B5C7-CB8B57BF1CE8}"/>
              </a:ext>
            </a:extLst>
          </p:cNvPr>
          <p:cNvPicPr>
            <a:picLocks noChangeAspect="1"/>
          </p:cNvPicPr>
          <p:nvPr/>
        </p:nvPicPr>
        <p:blipFill>
          <a:blip r:embed="rId2"/>
          <a:stretch>
            <a:fillRect/>
          </a:stretch>
        </p:blipFill>
        <p:spPr bwMode="black">
          <a:xfrm>
            <a:off x="584200" y="585788"/>
            <a:ext cx="1366440" cy="292608"/>
          </a:xfrm>
          <a:prstGeom prst="rect">
            <a:avLst/>
          </a:prstGeom>
        </p:spPr>
      </p:pic>
      <p:pic>
        <p:nvPicPr>
          <p:cNvPr id="10" name="Picture 9" descr="A screenshot of a computer&#10;&#10;Description generated with very high confidence">
            <a:extLst>
              <a:ext uri="{FF2B5EF4-FFF2-40B4-BE49-F238E27FC236}">
                <a16:creationId xmlns:a16="http://schemas.microsoft.com/office/drawing/2014/main" id="{0E28430B-A477-4C67-A20E-FD494C5659A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942" b="7474"/>
          <a:stretch/>
        </p:blipFill>
        <p:spPr>
          <a:xfrm>
            <a:off x="5206999" y="793835"/>
            <a:ext cx="6985001" cy="5270331"/>
          </a:xfrm>
          <a:prstGeom prst="rect">
            <a:avLst/>
          </a:prstGeom>
        </p:spPr>
      </p:pic>
      <p:pic>
        <p:nvPicPr>
          <p:cNvPr id="13" name="Picture 12">
            <a:extLst>
              <a:ext uri="{FF2B5EF4-FFF2-40B4-BE49-F238E27FC236}">
                <a16:creationId xmlns:a16="http://schemas.microsoft.com/office/drawing/2014/main" id="{F552CD22-F0C7-44A1-8654-FB6E3AFFC0DB}"/>
              </a:ext>
            </a:extLst>
          </p:cNvPr>
          <p:cNvPicPr>
            <a:picLocks noChangeAspect="1"/>
          </p:cNvPicPr>
          <p:nvPr/>
        </p:nvPicPr>
        <p:blipFill>
          <a:blip r:embed="rId4"/>
          <a:srcRect r="21332"/>
          <a:stretch>
            <a:fillRect/>
          </a:stretch>
        </p:blipFill>
        <p:spPr>
          <a:xfrm>
            <a:off x="5494702" y="1034607"/>
            <a:ext cx="6697298" cy="4788787"/>
          </a:xfrm>
          <a:custGeom>
            <a:avLst/>
            <a:gdLst>
              <a:gd name="connsiteX0" fmla="*/ 0 w 6697298"/>
              <a:gd name="connsiteY0" fmla="*/ 0 h 4788787"/>
              <a:gd name="connsiteX1" fmla="*/ 6697298 w 6697298"/>
              <a:gd name="connsiteY1" fmla="*/ 0 h 4788787"/>
              <a:gd name="connsiteX2" fmla="*/ 6697298 w 6697298"/>
              <a:gd name="connsiteY2" fmla="*/ 4788787 h 4788787"/>
              <a:gd name="connsiteX3" fmla="*/ 0 w 6697298"/>
              <a:gd name="connsiteY3" fmla="*/ 4788787 h 4788787"/>
            </a:gdLst>
            <a:ahLst/>
            <a:cxnLst>
              <a:cxn ang="0">
                <a:pos x="connsiteX0" y="connsiteY0"/>
              </a:cxn>
              <a:cxn ang="0">
                <a:pos x="connsiteX1" y="connsiteY1"/>
              </a:cxn>
              <a:cxn ang="0">
                <a:pos x="connsiteX2" y="connsiteY2"/>
              </a:cxn>
              <a:cxn ang="0">
                <a:pos x="connsiteX3" y="connsiteY3"/>
              </a:cxn>
            </a:cxnLst>
            <a:rect l="l" t="t" r="r" b="b"/>
            <a:pathLst>
              <a:path w="6697298" h="4788787">
                <a:moveTo>
                  <a:pt x="0" y="0"/>
                </a:moveTo>
                <a:lnTo>
                  <a:pt x="6697298" y="0"/>
                </a:lnTo>
                <a:lnTo>
                  <a:pt x="6697298" y="4788787"/>
                </a:lnTo>
                <a:lnTo>
                  <a:pt x="0" y="4788787"/>
                </a:lnTo>
                <a:close/>
              </a:path>
            </a:pathLst>
          </a:custGeom>
        </p:spPr>
      </p:pic>
      <p:sp>
        <p:nvSpPr>
          <p:cNvPr id="18" name="Arrow: Bent 17">
            <a:extLst>
              <a:ext uri="{FF2B5EF4-FFF2-40B4-BE49-F238E27FC236}">
                <a16:creationId xmlns:a16="http://schemas.microsoft.com/office/drawing/2014/main" id="{0A42D7B1-EBC5-4AA0-981E-CF414AF0E909}"/>
              </a:ext>
            </a:extLst>
          </p:cNvPr>
          <p:cNvSpPr/>
          <p:nvPr/>
        </p:nvSpPr>
        <p:spPr bwMode="auto">
          <a:xfrm>
            <a:off x="5124450" y="685799"/>
            <a:ext cx="716756" cy="1666875"/>
          </a:xfrm>
          <a:prstGeom prst="bentArrow">
            <a:avLst>
              <a:gd name="adj1" fmla="val 25000"/>
              <a:gd name="adj2" fmla="val 0"/>
              <a:gd name="adj3" fmla="val 25000"/>
              <a:gd name="adj4" fmla="val 27560"/>
            </a:avLst>
          </a:prstGeom>
          <a:solidFill>
            <a:schemeClr val="accent1"/>
          </a:solidFill>
          <a:ln w="63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cs typeface="Segoe UI" pitchFamily="34" charset="0"/>
            </a:endParaRPr>
          </a:p>
        </p:txBody>
      </p:sp>
      <p:sp>
        <p:nvSpPr>
          <p:cNvPr id="19" name="Arrow: Bent 18">
            <a:extLst>
              <a:ext uri="{FF2B5EF4-FFF2-40B4-BE49-F238E27FC236}">
                <a16:creationId xmlns:a16="http://schemas.microsoft.com/office/drawing/2014/main" id="{029F0708-00F4-440C-93C3-E473E3BB0345}"/>
              </a:ext>
            </a:extLst>
          </p:cNvPr>
          <p:cNvSpPr/>
          <p:nvPr/>
        </p:nvSpPr>
        <p:spPr bwMode="auto">
          <a:xfrm flipV="1">
            <a:off x="5124450" y="4502943"/>
            <a:ext cx="716756" cy="1672083"/>
          </a:xfrm>
          <a:prstGeom prst="bentArrow">
            <a:avLst>
              <a:gd name="adj1" fmla="val 25000"/>
              <a:gd name="adj2" fmla="val 0"/>
              <a:gd name="adj3" fmla="val 25000"/>
              <a:gd name="adj4" fmla="val 27560"/>
            </a:avLst>
          </a:prstGeom>
          <a:solidFill>
            <a:schemeClr val="accent1"/>
          </a:solidFill>
          <a:ln w="63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cs typeface="Segoe UI" pitchFamily="34" charset="0"/>
            </a:endParaRPr>
          </a:p>
        </p:txBody>
      </p:sp>
    </p:spTree>
    <p:extLst>
      <p:ext uri="{BB962C8B-B14F-4D97-AF65-F5344CB8AC3E}">
        <p14:creationId xmlns:p14="http://schemas.microsoft.com/office/powerpoint/2010/main" val="158352909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286DBBC-C62D-4242-98E4-DF55129EA3A1}"/>
              </a:ext>
            </a:extLst>
          </p:cNvPr>
          <p:cNvGrpSpPr/>
          <p:nvPr/>
        </p:nvGrpSpPr>
        <p:grpSpPr>
          <a:xfrm>
            <a:off x="0" y="1719134"/>
            <a:ext cx="5575201" cy="4766504"/>
            <a:chOff x="0" y="1719134"/>
            <a:chExt cx="5575201" cy="4766504"/>
          </a:xfrm>
        </p:grpSpPr>
        <p:sp>
          <p:nvSpPr>
            <p:cNvPr id="13" name="Freeform: Shape 12">
              <a:extLst>
                <a:ext uri="{FF2B5EF4-FFF2-40B4-BE49-F238E27FC236}">
                  <a16:creationId xmlns:a16="http://schemas.microsoft.com/office/drawing/2014/main" id="{1A9361D6-79A9-46A9-B5F6-867EA0DF8DF0}"/>
                </a:ext>
              </a:extLst>
            </p:cNvPr>
            <p:cNvSpPr/>
            <p:nvPr/>
          </p:nvSpPr>
          <p:spPr bwMode="auto">
            <a:xfrm>
              <a:off x="588263" y="1720867"/>
              <a:ext cx="4986938" cy="929616"/>
            </a:xfrm>
            <a:custGeom>
              <a:avLst/>
              <a:gdLst>
                <a:gd name="connsiteX0" fmla="*/ 126363 w 4986938"/>
                <a:gd name="connsiteY0" fmla="*/ 0 h 929616"/>
                <a:gd name="connsiteX1" fmla="*/ 4986938 w 4986938"/>
                <a:gd name="connsiteY1" fmla="*/ 0 h 929616"/>
                <a:gd name="connsiteX2" fmla="*/ 4986938 w 4986938"/>
                <a:gd name="connsiteY2" fmla="*/ 929616 h 929616"/>
                <a:gd name="connsiteX3" fmla="*/ 0 w 4986938"/>
                <a:gd name="connsiteY3" fmla="*/ 929616 h 929616"/>
                <a:gd name="connsiteX4" fmla="*/ 0 w 4986938"/>
                <a:gd name="connsiteY4" fmla="*/ 126363 h 929616"/>
                <a:gd name="connsiteX5" fmla="*/ 126363 w 4986938"/>
                <a:gd name="connsiteY5" fmla="*/ 0 h 92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6938" h="929616">
                  <a:moveTo>
                    <a:pt x="126363" y="0"/>
                  </a:moveTo>
                  <a:lnTo>
                    <a:pt x="4986938" y="0"/>
                  </a:lnTo>
                  <a:lnTo>
                    <a:pt x="4986938" y="929616"/>
                  </a:lnTo>
                  <a:lnTo>
                    <a:pt x="0" y="929616"/>
                  </a:lnTo>
                  <a:lnTo>
                    <a:pt x="0" y="126363"/>
                  </a:lnTo>
                  <a:cubicBezTo>
                    <a:pt x="0" y="56575"/>
                    <a:pt x="56575" y="0"/>
                    <a:pt x="126363" y="0"/>
                  </a:cubicBezTo>
                  <a:close/>
                </a:path>
              </a:pathLst>
            </a:cu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0" bIns="45720" numCol="1" spcCol="0" rtlCol="0" fromWordArt="0" anchor="ctr" anchorCtr="0" forceAA="0" compatLnSpc="1">
              <a:prstTxWarp prst="textNoShape">
                <a:avLst/>
              </a:prstTxWarp>
              <a:noAutofit/>
            </a:bodyPr>
            <a:lstStyle/>
            <a:p>
              <a:pPr algn="l" defTabSz="932472" rtl="0" fontAlgn="base">
                <a:spcBef>
                  <a:spcPct val="0"/>
                </a:spcBef>
                <a:spcAft>
                  <a:spcPct val="0"/>
                </a:spcAft>
              </a:pPr>
              <a:r>
                <a:rPr lang="fr-fr" sz="2000" b="0" i="0" u="none" baseline="0" dirty="0">
                  <a:solidFill>
                    <a:schemeClr val="bg1"/>
                  </a:solidFill>
                  <a:latin typeface="+mj-lt"/>
                  <a:ea typeface="Segoe UI" pitchFamily="34" charset="0"/>
                  <a:cs typeface="Segoe UI"/>
                </a:rPr>
                <a:t>Bénéficiez des fonctions de sécurité, </a:t>
              </a:r>
              <a:br>
                <a:rPr lang="fr-fr" sz="2000" b="0" i="0" u="none" baseline="0" dirty="0">
                  <a:latin typeface="+mj-lt"/>
                  <a:ea typeface="Segoe UI" pitchFamily="34" charset="0"/>
                  <a:cs typeface="Segoe UI" pitchFamily="34" charset="0"/>
                </a:rPr>
              </a:br>
              <a:r>
                <a:rPr lang="fr-fr" sz="2000" b="0" i="0" u="none" baseline="0" dirty="0">
                  <a:solidFill>
                    <a:schemeClr val="bg1"/>
                  </a:solidFill>
                  <a:latin typeface="+mj-lt"/>
                  <a:ea typeface="Segoe UI" pitchFamily="34" charset="0"/>
                  <a:cs typeface="Segoe UI"/>
                </a:rPr>
                <a:t>de conformité et de facilité de gestion d</a:t>
              </a:r>
              <a:r>
                <a:rPr lang="fr-FR" sz="2000" b="0" i="0" u="none" baseline="0" dirty="0">
                  <a:solidFill>
                    <a:schemeClr val="bg1"/>
                  </a:solidFill>
                  <a:latin typeface="+mj-lt"/>
                  <a:ea typeface="Segoe UI" pitchFamily="34" charset="0"/>
                  <a:cs typeface="Segoe UI"/>
                </a:rPr>
                <a:t>’</a:t>
              </a:r>
              <a:r>
                <a:rPr lang="fr-fr" sz="2000" b="0" i="0" u="none" baseline="0" dirty="0">
                  <a:solidFill>
                    <a:schemeClr val="bg1"/>
                  </a:solidFill>
                  <a:latin typeface="+mj-lt"/>
                  <a:ea typeface="Segoe UI" pitchFamily="34" charset="0"/>
                  <a:cs typeface="Segoe UI"/>
                </a:rPr>
                <a:t>Office 365</a:t>
              </a:r>
            </a:p>
          </p:txBody>
        </p:sp>
        <p:sp>
          <p:nvSpPr>
            <p:cNvPr id="14" name="Arrow: Bent 13">
              <a:extLst>
                <a:ext uri="{FF2B5EF4-FFF2-40B4-BE49-F238E27FC236}">
                  <a16:creationId xmlns:a16="http://schemas.microsoft.com/office/drawing/2014/main" id="{38C78A06-528F-4345-8297-91788C890E82}"/>
                </a:ext>
              </a:extLst>
            </p:cNvPr>
            <p:cNvSpPr/>
            <p:nvPr/>
          </p:nvSpPr>
          <p:spPr bwMode="auto">
            <a:xfrm>
              <a:off x="588263" y="1719134"/>
              <a:ext cx="4948937" cy="2173288"/>
            </a:xfrm>
            <a:prstGeom prst="bentArrow">
              <a:avLst>
                <a:gd name="adj1" fmla="val 25000"/>
                <a:gd name="adj2" fmla="val 0"/>
                <a:gd name="adj3" fmla="val 25000"/>
                <a:gd name="adj4" fmla="val 556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5" name="Arrow: Bent 14">
              <a:extLst>
                <a:ext uri="{FF2B5EF4-FFF2-40B4-BE49-F238E27FC236}">
                  <a16:creationId xmlns:a16="http://schemas.microsoft.com/office/drawing/2014/main" id="{01A66CAF-E031-4EBF-B924-A29C65C444E5}"/>
                </a:ext>
              </a:extLst>
            </p:cNvPr>
            <p:cNvSpPr/>
            <p:nvPr/>
          </p:nvSpPr>
          <p:spPr bwMode="auto">
            <a:xfrm flipH="1" flipV="1">
              <a:off x="0" y="3541711"/>
              <a:ext cx="588262" cy="2727319"/>
            </a:xfrm>
            <a:prstGeom prst="bentArrow">
              <a:avLst>
                <a:gd name="adj1" fmla="val 25000"/>
                <a:gd name="adj2" fmla="val 0"/>
                <a:gd name="adj3" fmla="val 25000"/>
                <a:gd name="adj4" fmla="val 20514"/>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CC8DC9F1-F4B3-43F2-8707-1E1789933C7E}"/>
                </a:ext>
              </a:extLst>
            </p:cNvPr>
            <p:cNvSpPr/>
            <p:nvPr/>
          </p:nvSpPr>
          <p:spPr>
            <a:xfrm>
              <a:off x="420924" y="2730764"/>
              <a:ext cx="4878151" cy="3754874"/>
            </a:xfrm>
            <a:prstGeom prst="rect">
              <a:avLst/>
            </a:prstGeom>
          </p:spPr>
          <p:txBody>
            <a:bodyPr wrap="square" anchor="t">
              <a:spAutoFit/>
            </a:bodyPr>
            <a:lstStyle/>
            <a:p>
              <a:pPr marL="285750" indent="-285750" algn="l" rtl="0" fontAlgn="base">
                <a:spcBef>
                  <a:spcPts val="1200"/>
                </a:spcBef>
                <a:buClr>
                  <a:srgbClr val="4B53BC"/>
                </a:buClr>
                <a:buSzPct val="100000"/>
                <a:buBlip>
                  <a:blip r:embed="rId3"/>
                </a:buBlip>
                <a:defRPr/>
              </a:pPr>
              <a:r>
                <a:rPr lang="fr-fr" b="0" i="0" u="none" baseline="0" dirty="0">
                  <a:cs typeface="Segoe UI"/>
                </a:rPr>
                <a:t>Cloud global très étendu, avec possibilité de résidence locale des données</a:t>
              </a:r>
            </a:p>
            <a:p>
              <a:pPr marL="285750" indent="-285750" algn="l" rtl="0" fontAlgn="base">
                <a:spcBef>
                  <a:spcPts val="1200"/>
                </a:spcBef>
                <a:buClr>
                  <a:srgbClr val="4B53BC"/>
                </a:buClr>
                <a:buSzPct val="100000"/>
                <a:buBlip>
                  <a:blip r:embed="rId3"/>
                </a:buBlip>
                <a:defRPr/>
              </a:pPr>
              <a:r>
                <a:rPr lang="fr-fr" b="0" i="0" u="none" baseline="0" dirty="0">
                  <a:cs typeface="Segoe UI"/>
                </a:rPr>
                <a:t>Leadership en matière de conformité </a:t>
              </a:r>
              <a:br>
                <a:rPr lang="fr-fr" b="0" i="0" u="none" baseline="0" dirty="0">
                  <a:cs typeface="Segoe UI"/>
                </a:rPr>
              </a:br>
              <a:r>
                <a:rPr lang="fr-fr" b="0" i="0" u="none" baseline="0" dirty="0">
                  <a:cs typeface="Segoe UI"/>
                </a:rPr>
                <a:t>avec EUMC, HIPAA, etc.</a:t>
              </a:r>
            </a:p>
            <a:p>
              <a:pPr marL="285750" indent="-285750" algn="l" rtl="0" fontAlgn="base">
                <a:spcBef>
                  <a:spcPts val="1200"/>
                </a:spcBef>
                <a:buClr>
                  <a:srgbClr val="4B53BC"/>
                </a:buClr>
                <a:buSzPct val="100000"/>
                <a:buBlip>
                  <a:blip r:embed="rId3"/>
                </a:buBlip>
                <a:defRPr/>
              </a:pPr>
              <a:r>
                <a:rPr lang="fr-fr" b="0" i="0" u="none" baseline="0" dirty="0">
                  <a:cs typeface="Segoe UI"/>
                </a:rPr>
                <a:t>Protection intégrée des informations </a:t>
              </a:r>
              <a:br>
                <a:rPr lang="fr-fr" b="0" i="0" u="none" baseline="0" dirty="0">
                  <a:cs typeface="Segoe UI"/>
                </a:rPr>
              </a:br>
              <a:r>
                <a:rPr lang="fr-fr" b="0" i="0" u="none" baseline="0" dirty="0">
                  <a:cs typeface="Segoe UI"/>
                </a:rPr>
                <a:t>avec eDiscovery et des fonctions d</a:t>
              </a:r>
              <a:r>
                <a:rPr lang="fr-FR" b="0" i="0" u="none" baseline="0" dirty="0">
                  <a:cs typeface="Segoe UI"/>
                </a:rPr>
                <a:t>’</a:t>
              </a:r>
              <a:r>
                <a:rPr lang="fr-fr" b="0" i="0" u="none" baseline="0" dirty="0">
                  <a:cs typeface="Segoe UI"/>
                </a:rPr>
                <a:t>audit</a:t>
              </a:r>
            </a:p>
            <a:p>
              <a:pPr marL="285750" indent="-285750" algn="l" rtl="0" fontAlgn="base">
                <a:spcBef>
                  <a:spcPts val="1200"/>
                </a:spcBef>
                <a:buClr>
                  <a:srgbClr val="4B53BC"/>
                </a:buClr>
                <a:buSzPct val="100000"/>
                <a:buBlip>
                  <a:blip r:embed="rId3"/>
                </a:buBlip>
                <a:defRPr/>
              </a:pPr>
              <a:r>
                <a:rPr lang="fr-fr" b="0" i="0" u="none" baseline="0" dirty="0">
                  <a:cs typeface="Segoe UI"/>
                </a:rPr>
                <a:t>Authentification à plusieurs facteurs </a:t>
              </a:r>
              <a:br>
                <a:rPr lang="fr-fr" b="0" i="0" u="none" baseline="0" dirty="0">
                  <a:cs typeface="Segoe UI"/>
                </a:rPr>
              </a:br>
              <a:r>
                <a:rPr lang="fr-fr" b="0" i="0" u="none" baseline="0" dirty="0">
                  <a:cs typeface="Segoe UI"/>
                </a:rPr>
                <a:t>et accès sécurisé des invités</a:t>
              </a:r>
            </a:p>
            <a:p>
              <a:pPr marL="285750" indent="-285750" algn="l" rtl="0" fontAlgn="base">
                <a:spcBef>
                  <a:spcPts val="1200"/>
                </a:spcBef>
                <a:buClr>
                  <a:srgbClr val="4B53BC"/>
                </a:buClr>
                <a:buSzPct val="100000"/>
                <a:buBlip>
                  <a:blip r:embed="rId3"/>
                </a:buBlip>
                <a:defRPr/>
              </a:pPr>
              <a:r>
                <a:rPr lang="fr-fr" b="0" i="0" u="none" baseline="0" dirty="0">
                  <a:cs typeface="Segoe UI"/>
                </a:rPr>
                <a:t>Gérez tous les aspects au travers d</a:t>
              </a:r>
              <a:r>
                <a:rPr lang="fr-FR" b="0" i="0" u="none" baseline="0" dirty="0">
                  <a:cs typeface="Segoe UI"/>
                </a:rPr>
                <a:t>’</a:t>
              </a:r>
              <a:r>
                <a:rPr lang="fr-fr" b="0" i="0" u="none" baseline="0" dirty="0">
                  <a:cs typeface="Segoe UI"/>
                </a:rPr>
                <a:t>une expérience d</a:t>
              </a:r>
              <a:r>
                <a:rPr lang="fr-FR" b="0" i="0" u="none" baseline="0" dirty="0">
                  <a:cs typeface="Segoe UI"/>
                </a:rPr>
                <a:t>’</a:t>
              </a:r>
              <a:r>
                <a:rPr lang="fr-fr" b="0" i="0" u="none" baseline="0" dirty="0">
                  <a:cs typeface="Segoe UI"/>
                </a:rPr>
                <a:t>administration unique </a:t>
              </a:r>
              <a:br>
                <a:rPr lang="fr-fr" b="0" i="0" u="none" baseline="0" dirty="0">
                  <a:cs typeface="Segoe UI"/>
                </a:rPr>
              </a:br>
              <a:r>
                <a:rPr lang="fr-fr" b="0" i="0" u="none" baseline="0" dirty="0">
                  <a:cs typeface="Segoe UI"/>
                </a:rPr>
                <a:t>et cohérente</a:t>
              </a:r>
            </a:p>
          </p:txBody>
        </p:sp>
      </p:grpSp>
      <p:sp>
        <p:nvSpPr>
          <p:cNvPr id="3" name="Title 2">
            <a:extLst>
              <a:ext uri="{FF2B5EF4-FFF2-40B4-BE49-F238E27FC236}">
                <a16:creationId xmlns:a16="http://schemas.microsoft.com/office/drawing/2014/main" id="{629D66B4-387D-442D-B40A-0AF60EB08664}"/>
              </a:ext>
            </a:extLst>
          </p:cNvPr>
          <p:cNvSpPr>
            <a:spLocks noGrp="1"/>
          </p:cNvSpPr>
          <p:nvPr>
            <p:ph type="title"/>
          </p:nvPr>
        </p:nvSpPr>
        <p:spPr/>
        <p:txBody>
          <a:bodyPr/>
          <a:lstStyle/>
          <a:p>
            <a:pPr algn="l" rtl="0"/>
            <a:r>
              <a:rPr lang="fr-fr" b="0" i="0" u="none" baseline="0" dirty="0">
                <a:cs typeface="Segoe UI"/>
              </a:rPr>
              <a:t>Travaillez en toute sécurité et en toute confiance</a:t>
            </a:r>
            <a:endParaRPr lang="fr-fr" dirty="0">
              <a:cs typeface="Segoe UI"/>
            </a:endParaRPr>
          </a:p>
        </p:txBody>
      </p:sp>
      <p:grpSp>
        <p:nvGrpSpPr>
          <p:cNvPr id="2" name="Group 1">
            <a:extLst>
              <a:ext uri="{FF2B5EF4-FFF2-40B4-BE49-F238E27FC236}">
                <a16:creationId xmlns:a16="http://schemas.microsoft.com/office/drawing/2014/main" id="{A7454C39-42ED-41C8-A60F-1BE52E119C10}"/>
              </a:ext>
            </a:extLst>
          </p:cNvPr>
          <p:cNvGrpSpPr/>
          <p:nvPr/>
        </p:nvGrpSpPr>
        <p:grpSpPr>
          <a:xfrm>
            <a:off x="5699126" y="1299369"/>
            <a:ext cx="6492875" cy="4838697"/>
            <a:chOff x="5699126" y="1409699"/>
            <a:chExt cx="6492875" cy="4838697"/>
          </a:xfrm>
        </p:grpSpPr>
        <p:sp>
          <p:nvSpPr>
            <p:cNvPr id="22" name="Rectangle: Top Corners Rounded 21">
              <a:extLst>
                <a:ext uri="{FF2B5EF4-FFF2-40B4-BE49-F238E27FC236}">
                  <a16:creationId xmlns:a16="http://schemas.microsoft.com/office/drawing/2014/main" id="{0F5D9507-4233-4D86-B7FE-09D3420FD430}"/>
                </a:ext>
              </a:extLst>
            </p:cNvPr>
            <p:cNvSpPr/>
            <p:nvPr/>
          </p:nvSpPr>
          <p:spPr bwMode="auto">
            <a:xfrm rot="16200000">
              <a:off x="6526215" y="582610"/>
              <a:ext cx="4838697" cy="6492875"/>
            </a:xfrm>
            <a:prstGeom prst="round2SameRect">
              <a:avLst>
                <a:gd name="adj1" fmla="val 1874"/>
                <a:gd name="adj2" fmla="val 0"/>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rtl="0" fontAlgn="base">
                <a:spcBef>
                  <a:spcPct val="0"/>
                </a:spcBef>
                <a:spcAft>
                  <a:spcPct val="0"/>
                </a:spcAft>
              </a:pPr>
              <a:endParaRPr lang="fr-fr" sz="2400" dirty="0">
                <a:gradFill>
                  <a:gsLst>
                    <a:gs pos="0">
                      <a:srgbClr val="FFFFFF"/>
                    </a:gs>
                    <a:gs pos="100000">
                      <a:srgbClr val="FFFFFF"/>
                    </a:gs>
                  </a:gsLst>
                  <a:lin ang="5400000" scaled="0"/>
                </a:gradFill>
                <a:cs typeface="Segoe UI" pitchFamily="34" charset="0"/>
              </a:endParaRPr>
            </a:p>
          </p:txBody>
        </p:sp>
        <p:pic>
          <p:nvPicPr>
            <p:cNvPr id="25" name="Picture 24">
              <a:extLst>
                <a:ext uri="{FF2B5EF4-FFF2-40B4-BE49-F238E27FC236}">
                  <a16:creationId xmlns:a16="http://schemas.microsoft.com/office/drawing/2014/main" id="{287972E7-2EAC-4075-A072-F0D014CEBE4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372" t="454" r="888" b="1156"/>
            <a:stretch/>
          </p:blipFill>
          <p:spPr>
            <a:xfrm>
              <a:off x="5840805" y="1556443"/>
              <a:ext cx="6351196" cy="4545208"/>
            </a:xfrm>
            <a:custGeom>
              <a:avLst/>
              <a:gdLst>
                <a:gd name="connsiteX0" fmla="*/ 95268 w 6351196"/>
                <a:gd name="connsiteY0" fmla="*/ 0 h 4545208"/>
                <a:gd name="connsiteX1" fmla="*/ 6255929 w 6351196"/>
                <a:gd name="connsiteY1" fmla="*/ 0 h 4545208"/>
                <a:gd name="connsiteX2" fmla="*/ 6343710 w 6351196"/>
                <a:gd name="connsiteY2" fmla="*/ 58186 h 4545208"/>
                <a:gd name="connsiteX3" fmla="*/ 6351196 w 6351196"/>
                <a:gd name="connsiteY3" fmla="*/ 95263 h 4545208"/>
                <a:gd name="connsiteX4" fmla="*/ 6351196 w 6351196"/>
                <a:gd name="connsiteY4" fmla="*/ 4449945 h 4545208"/>
                <a:gd name="connsiteX5" fmla="*/ 6343710 w 6351196"/>
                <a:gd name="connsiteY5" fmla="*/ 4487023 h 4545208"/>
                <a:gd name="connsiteX6" fmla="*/ 6255929 w 6351196"/>
                <a:gd name="connsiteY6" fmla="*/ 4545208 h 4545208"/>
                <a:gd name="connsiteX7" fmla="*/ 95268 w 6351196"/>
                <a:gd name="connsiteY7" fmla="*/ 4545208 h 4545208"/>
                <a:gd name="connsiteX8" fmla="*/ 0 w 6351196"/>
                <a:gd name="connsiteY8" fmla="*/ 4449940 h 4545208"/>
                <a:gd name="connsiteX9" fmla="*/ 0 w 6351196"/>
                <a:gd name="connsiteY9" fmla="*/ 95268 h 4545208"/>
                <a:gd name="connsiteX10" fmla="*/ 95268 w 6351196"/>
                <a:gd name="connsiteY10" fmla="*/ 0 h 4545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51196" h="4545208">
                  <a:moveTo>
                    <a:pt x="95268" y="0"/>
                  </a:moveTo>
                  <a:lnTo>
                    <a:pt x="6255929" y="0"/>
                  </a:lnTo>
                  <a:cubicBezTo>
                    <a:pt x="6295390" y="0"/>
                    <a:pt x="6329248" y="23992"/>
                    <a:pt x="6343710" y="58186"/>
                  </a:cubicBezTo>
                  <a:lnTo>
                    <a:pt x="6351196" y="95263"/>
                  </a:lnTo>
                  <a:lnTo>
                    <a:pt x="6351196" y="4449945"/>
                  </a:lnTo>
                  <a:lnTo>
                    <a:pt x="6343710" y="4487023"/>
                  </a:lnTo>
                  <a:cubicBezTo>
                    <a:pt x="6329248" y="4521216"/>
                    <a:pt x="6295390" y="4545208"/>
                    <a:pt x="6255929" y="4545208"/>
                  </a:cubicBezTo>
                  <a:lnTo>
                    <a:pt x="95268" y="4545208"/>
                  </a:lnTo>
                  <a:cubicBezTo>
                    <a:pt x="42653" y="4545208"/>
                    <a:pt x="0" y="4502555"/>
                    <a:pt x="0" y="4449940"/>
                  </a:cubicBezTo>
                  <a:lnTo>
                    <a:pt x="0" y="95268"/>
                  </a:lnTo>
                  <a:cubicBezTo>
                    <a:pt x="0" y="42653"/>
                    <a:pt x="42653" y="0"/>
                    <a:pt x="95268" y="0"/>
                  </a:cubicBezTo>
                  <a:close/>
                </a:path>
              </a:pathLst>
            </a:custGeom>
          </p:spPr>
        </p:pic>
      </p:grpSp>
      <p:sp>
        <p:nvSpPr>
          <p:cNvPr id="20" name="Rectangle: Top Corners Rounded 19">
            <a:extLst>
              <a:ext uri="{FF2B5EF4-FFF2-40B4-BE49-F238E27FC236}">
                <a16:creationId xmlns:a16="http://schemas.microsoft.com/office/drawing/2014/main" id="{DF302802-6F4D-466D-B70D-902D20E301B9}"/>
              </a:ext>
            </a:extLst>
          </p:cNvPr>
          <p:cNvSpPr/>
          <p:nvPr/>
        </p:nvSpPr>
        <p:spPr bwMode="auto">
          <a:xfrm rot="16200000">
            <a:off x="6331248" y="408286"/>
            <a:ext cx="5100641" cy="6620862"/>
          </a:xfrm>
          <a:prstGeom prst="round2SameRect">
            <a:avLst>
              <a:gd name="adj1" fmla="val 2540"/>
              <a:gd name="adj2" fmla="val 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5F349854-0435-47F8-8850-DC5FDD2108BB}"/>
              </a:ext>
            </a:extLst>
          </p:cNvPr>
          <p:cNvGrpSpPr/>
          <p:nvPr/>
        </p:nvGrpSpPr>
        <p:grpSpPr>
          <a:xfrm>
            <a:off x="11082530" y="394996"/>
            <a:ext cx="1109472" cy="553999"/>
            <a:chOff x="11082530" y="394996"/>
            <a:chExt cx="1109472" cy="553999"/>
          </a:xfrm>
        </p:grpSpPr>
        <p:sp>
          <p:nvSpPr>
            <p:cNvPr id="17" name="Rectangle: Top Corners Rounded 16">
              <a:extLst>
                <a:ext uri="{FF2B5EF4-FFF2-40B4-BE49-F238E27FC236}">
                  <a16:creationId xmlns:a16="http://schemas.microsoft.com/office/drawing/2014/main" id="{7550DE80-433B-423D-9E63-D8F653AF7BFE}"/>
                </a:ext>
              </a:extLst>
            </p:cNvPr>
            <p:cNvSpPr/>
            <p:nvPr/>
          </p:nvSpPr>
          <p:spPr bwMode="auto">
            <a:xfrm rot="16200000">
              <a:off x="11360266" y="117260"/>
              <a:ext cx="553999" cy="1109472"/>
            </a:xfrm>
            <a:prstGeom prst="round2SameRect">
              <a:avLst>
                <a:gd name="adj1" fmla="val 50000"/>
                <a:gd name="adj2" fmla="val 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8" name="Oval 17">
              <a:extLst>
                <a:ext uri="{FF2B5EF4-FFF2-40B4-BE49-F238E27FC236}">
                  <a16:creationId xmlns:a16="http://schemas.microsoft.com/office/drawing/2014/main" id="{4D6188E0-E3CA-41BA-8569-621DD7B9E86A}"/>
                </a:ext>
              </a:extLst>
            </p:cNvPr>
            <p:cNvSpPr/>
            <p:nvPr/>
          </p:nvSpPr>
          <p:spPr bwMode="auto">
            <a:xfrm>
              <a:off x="11107990" y="418917"/>
              <a:ext cx="506160" cy="50615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rtl="0" fontAlgn="base">
                <a:lnSpc>
                  <a:spcPct val="90000"/>
                </a:lnSpc>
                <a:spcBef>
                  <a:spcPct val="0"/>
                </a:spcBef>
                <a:spcAft>
                  <a:spcPct val="0"/>
                </a:spcAft>
              </a:pPr>
              <a:endParaRPr lang="fr-fr"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8B2DC56-714B-4144-86FB-BB9793FF0490}"/>
                </a:ext>
              </a:extLst>
            </p:cNvPr>
            <p:cNvGrpSpPr/>
            <p:nvPr/>
          </p:nvGrpSpPr>
          <p:grpSpPr>
            <a:xfrm>
              <a:off x="11259795" y="529548"/>
              <a:ext cx="202550" cy="265846"/>
              <a:chOff x="765176" y="4954588"/>
              <a:chExt cx="177800" cy="233363"/>
            </a:xfrm>
          </p:grpSpPr>
          <p:sp>
            <p:nvSpPr>
              <p:cNvPr id="27" name="Freeform 21">
                <a:extLst>
                  <a:ext uri="{FF2B5EF4-FFF2-40B4-BE49-F238E27FC236}">
                    <a16:creationId xmlns:a16="http://schemas.microsoft.com/office/drawing/2014/main" id="{76E18C4A-6B40-4F98-AA26-4B6055ABE375}"/>
                  </a:ext>
                </a:extLst>
              </p:cNvPr>
              <p:cNvSpPr>
                <a:spLocks noEditPoints="1"/>
              </p:cNvSpPr>
              <p:nvPr/>
            </p:nvSpPr>
            <p:spPr bwMode="auto">
              <a:xfrm>
                <a:off x="765176" y="5056188"/>
                <a:ext cx="177800" cy="131763"/>
              </a:xfrm>
              <a:custGeom>
                <a:avLst/>
                <a:gdLst>
                  <a:gd name="T0" fmla="*/ 112 w 112"/>
                  <a:gd name="T1" fmla="*/ 83 h 83"/>
                  <a:gd name="T2" fmla="*/ 0 w 112"/>
                  <a:gd name="T3" fmla="*/ 83 h 83"/>
                  <a:gd name="T4" fmla="*/ 0 w 112"/>
                  <a:gd name="T5" fmla="*/ 0 h 83"/>
                  <a:gd name="T6" fmla="*/ 112 w 112"/>
                  <a:gd name="T7" fmla="*/ 0 h 83"/>
                  <a:gd name="T8" fmla="*/ 112 w 112"/>
                  <a:gd name="T9" fmla="*/ 83 h 83"/>
                  <a:gd name="T10" fmla="*/ 112 w 112"/>
                  <a:gd name="T11" fmla="*/ 83 h 83"/>
                  <a:gd name="T12" fmla="*/ 112 w 112"/>
                  <a:gd name="T13" fmla="*/ 83 h 83"/>
                  <a:gd name="T14" fmla="*/ 11 w 112"/>
                  <a:gd name="T15" fmla="*/ 71 h 83"/>
                  <a:gd name="T16" fmla="*/ 11 w 112"/>
                  <a:gd name="T17"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83">
                    <a:moveTo>
                      <a:pt x="112" y="83"/>
                    </a:moveTo>
                    <a:lnTo>
                      <a:pt x="0" y="83"/>
                    </a:lnTo>
                    <a:lnTo>
                      <a:pt x="0" y="0"/>
                    </a:lnTo>
                    <a:lnTo>
                      <a:pt x="112" y="0"/>
                    </a:lnTo>
                    <a:lnTo>
                      <a:pt x="112" y="83"/>
                    </a:lnTo>
                    <a:lnTo>
                      <a:pt x="112" y="83"/>
                    </a:lnTo>
                    <a:lnTo>
                      <a:pt x="112" y="83"/>
                    </a:lnTo>
                    <a:moveTo>
                      <a:pt x="11" y="71"/>
                    </a:moveTo>
                    <a:lnTo>
                      <a:pt x="11" y="71"/>
                    </a:lnTo>
                  </a:path>
                </a:pathLst>
              </a:custGeom>
              <a:noFill/>
              <a:ln w="12700">
                <a:solidFill>
                  <a:srgbClr val="4B53BC"/>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solidFill>
                    <a:srgbClr val="E6E6E6"/>
                  </a:solidFill>
                  <a:latin typeface="Segoe UI"/>
                  <a:cs typeface="Segoe UI"/>
                </a:endParaRPr>
              </a:p>
            </p:txBody>
          </p:sp>
          <p:sp>
            <p:nvSpPr>
              <p:cNvPr id="28" name="Freeform 22">
                <a:extLst>
                  <a:ext uri="{FF2B5EF4-FFF2-40B4-BE49-F238E27FC236}">
                    <a16:creationId xmlns:a16="http://schemas.microsoft.com/office/drawing/2014/main" id="{4DA66F50-9588-4F23-A822-580F2A21871B}"/>
                  </a:ext>
                </a:extLst>
              </p:cNvPr>
              <p:cNvSpPr>
                <a:spLocks/>
              </p:cNvSpPr>
              <p:nvPr/>
            </p:nvSpPr>
            <p:spPr bwMode="auto">
              <a:xfrm>
                <a:off x="790206" y="4954588"/>
                <a:ext cx="127741" cy="101600"/>
              </a:xfrm>
              <a:custGeom>
                <a:avLst/>
                <a:gdLst>
                  <a:gd name="T0" fmla="*/ 0 w 54"/>
                  <a:gd name="T1" fmla="*/ 46 h 46"/>
                  <a:gd name="T2" fmla="*/ 0 w 54"/>
                  <a:gd name="T3" fmla="*/ 27 h 46"/>
                  <a:gd name="T4" fmla="*/ 27 w 54"/>
                  <a:gd name="T5" fmla="*/ 0 h 46"/>
                  <a:gd name="T6" fmla="*/ 54 w 54"/>
                  <a:gd name="T7" fmla="*/ 27 h 46"/>
                  <a:gd name="T8" fmla="*/ 54 w 54"/>
                  <a:gd name="T9" fmla="*/ 46 h 46"/>
                  <a:gd name="T10" fmla="*/ 54 w 54"/>
                  <a:gd name="T11" fmla="*/ 46 h 46"/>
                  <a:gd name="T12" fmla="*/ 54 w 54"/>
                  <a:gd name="T13" fmla="*/ 46 h 46"/>
                  <a:gd name="T14" fmla="*/ 45 w 54"/>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46">
                    <a:moveTo>
                      <a:pt x="0" y="46"/>
                    </a:moveTo>
                    <a:cubicBezTo>
                      <a:pt x="0" y="27"/>
                      <a:pt x="0" y="27"/>
                      <a:pt x="0" y="27"/>
                    </a:cubicBezTo>
                    <a:cubicBezTo>
                      <a:pt x="0" y="13"/>
                      <a:pt x="12" y="0"/>
                      <a:pt x="27" y="0"/>
                    </a:cubicBezTo>
                    <a:cubicBezTo>
                      <a:pt x="42" y="0"/>
                      <a:pt x="54" y="13"/>
                      <a:pt x="54" y="27"/>
                    </a:cubicBezTo>
                    <a:cubicBezTo>
                      <a:pt x="54" y="46"/>
                      <a:pt x="54" y="46"/>
                      <a:pt x="54" y="46"/>
                    </a:cubicBezTo>
                    <a:cubicBezTo>
                      <a:pt x="54" y="46"/>
                      <a:pt x="54" y="46"/>
                      <a:pt x="54" y="46"/>
                    </a:cubicBezTo>
                    <a:cubicBezTo>
                      <a:pt x="54" y="46"/>
                      <a:pt x="54" y="46"/>
                      <a:pt x="54" y="46"/>
                    </a:cubicBezTo>
                    <a:cubicBezTo>
                      <a:pt x="45" y="46"/>
                      <a:pt x="45" y="46"/>
                      <a:pt x="45" y="46"/>
                    </a:cubicBezTo>
                  </a:path>
                </a:pathLst>
              </a:custGeom>
              <a:noFill/>
              <a:ln w="12700">
                <a:solidFill>
                  <a:srgbClr val="4B53BC"/>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solidFill>
                    <a:srgbClr val="E6E6E6"/>
                  </a:solidFill>
                  <a:latin typeface="Segoe UI"/>
                  <a:cs typeface="Segoe UI"/>
                </a:endParaRPr>
              </a:p>
            </p:txBody>
          </p:sp>
        </p:grpSp>
      </p:grpSp>
    </p:spTree>
    <p:extLst>
      <p:ext uri="{BB962C8B-B14F-4D97-AF65-F5344CB8AC3E}">
        <p14:creationId xmlns:p14="http://schemas.microsoft.com/office/powerpoint/2010/main" val="931213806"/>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96DA288-A091-49BE-B425-979E77AF9394}"/>
              </a:ext>
            </a:extLst>
          </p:cNvPr>
          <p:cNvSpPr>
            <a:spLocks noGrp="1"/>
          </p:cNvSpPr>
          <p:nvPr>
            <p:ph type="title"/>
          </p:nvPr>
        </p:nvSpPr>
        <p:spPr/>
        <p:txBody>
          <a:bodyPr/>
          <a:lstStyle/>
          <a:p>
            <a:pPr algn="l" rtl="0"/>
            <a:r>
              <a:rPr lang="fr-fr" b="0" i="0" u="none" baseline="0" dirty="0">
                <a:cs typeface="Segoe UI"/>
              </a:rPr>
              <a:t>Trek Bicycle</a:t>
            </a:r>
            <a:endParaRPr lang="fr-fr" dirty="0">
              <a:cs typeface="Segoe UI"/>
            </a:endParaRPr>
          </a:p>
        </p:txBody>
      </p:sp>
      <p:sp>
        <p:nvSpPr>
          <p:cNvPr id="9" name="Text Placeholder 2">
            <a:extLst>
              <a:ext uri="{FF2B5EF4-FFF2-40B4-BE49-F238E27FC236}">
                <a16:creationId xmlns:a16="http://schemas.microsoft.com/office/drawing/2014/main" id="{BE109622-1A85-40B8-9E3B-AB4D412D2037}"/>
              </a:ext>
            </a:extLst>
          </p:cNvPr>
          <p:cNvSpPr txBox="1">
            <a:spLocks/>
          </p:cNvSpPr>
          <p:nvPr/>
        </p:nvSpPr>
        <p:spPr>
          <a:xfrm>
            <a:off x="-1" y="3428999"/>
            <a:ext cx="7778749" cy="28400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182880" rIns="182880" bIns="182880" numCol="1" spcCol="0" rtlCol="0" fromWordArt="0" anchor="t" anchorCtr="0" forceAA="0" compatLnSpc="1">
            <a:prstTxWarp prst="textNoShape">
              <a:avLst/>
            </a:prstTxWarp>
            <a:noAutofit/>
          </a:bodyPr>
          <a:lstStyle>
            <a:defPPr>
              <a:defRPr lang="fr-fr"/>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rtl="0"/>
            <a:r>
              <a:rPr lang="fr-fr" sz="1800" b="0" i="0" u="none" baseline="0" dirty="0">
                <a:solidFill>
                  <a:srgbClr val="4B53BC"/>
                </a:solidFill>
                <a:latin typeface="+mj-lt"/>
                <a:cs typeface="Segoe UI"/>
              </a:rPr>
              <a:t>Usage de Microsoft Teams :</a:t>
            </a:r>
          </a:p>
          <a:p>
            <a:pPr>
              <a:spcBef>
                <a:spcPts val="600"/>
              </a:spcBef>
              <a:spcAft>
                <a:spcPts val="400"/>
              </a:spcAft>
            </a:pPr>
            <a:r>
              <a:rPr lang="fr-fr" sz="1600" b="0" i="1" u="none" baseline="0" dirty="0">
                <a:solidFill>
                  <a:schemeClr val="tx1"/>
                </a:solidFill>
                <a:cs typeface="Segoe UI"/>
              </a:rPr>
              <a:t>« Les informations fournies par Microsoft Power BI ont véritablement changé </a:t>
            </a:r>
            <a:br>
              <a:rPr lang="fr-fr" sz="1600" b="0" i="1" u="none" baseline="0" dirty="0"/>
            </a:br>
            <a:r>
              <a:rPr lang="fr-fr" sz="1600" b="0" i="1" u="none" baseline="0" dirty="0">
                <a:solidFill>
                  <a:schemeClr val="tx1"/>
                </a:solidFill>
                <a:cs typeface="Segoe UI"/>
              </a:rPr>
              <a:t>la donne pour notre entreprise. Elles nous ont permis d</a:t>
            </a:r>
            <a:r>
              <a:rPr lang="fr-FR" sz="1600" b="0" i="1" u="none" baseline="0" dirty="0">
                <a:solidFill>
                  <a:schemeClr val="tx1"/>
                </a:solidFill>
                <a:cs typeface="Segoe UI"/>
              </a:rPr>
              <a:t>’</a:t>
            </a:r>
            <a:r>
              <a:rPr lang="fr-fr" sz="1600" b="0" i="1" u="none" baseline="0" dirty="0">
                <a:solidFill>
                  <a:schemeClr val="tx1"/>
                </a:solidFill>
                <a:cs typeface="Segoe UI"/>
              </a:rPr>
              <a:t>être plus productifs, </a:t>
            </a:r>
            <a:br>
              <a:rPr lang="fr-fr" sz="1600" b="0" i="1" u="none" baseline="0" dirty="0"/>
            </a:br>
            <a:r>
              <a:rPr lang="fr-fr" sz="1600" b="0" i="1" u="none" baseline="0" dirty="0">
                <a:solidFill>
                  <a:schemeClr val="tx1"/>
                </a:solidFill>
                <a:cs typeface="Segoe UI"/>
              </a:rPr>
              <a:t>et de mieux répartir notre temps et nos ressources. Combinées aux autres solutions de Microsoft, elles aident Trek à creuser encore plus l</a:t>
            </a:r>
            <a:r>
              <a:rPr lang="fr-FR" sz="1600" b="0" i="1" u="none" baseline="0" dirty="0">
                <a:solidFill>
                  <a:schemeClr val="tx1"/>
                </a:solidFill>
                <a:cs typeface="Segoe UI"/>
              </a:rPr>
              <a:t>’</a:t>
            </a:r>
            <a:r>
              <a:rPr lang="fr-fr" sz="1600" b="0" i="1" u="none" baseline="0" dirty="0">
                <a:solidFill>
                  <a:schemeClr val="tx1"/>
                </a:solidFill>
                <a:cs typeface="Segoe UI"/>
              </a:rPr>
              <a:t>écart avec </a:t>
            </a:r>
            <a:br>
              <a:rPr lang="fr-fr" sz="1600" b="0" i="1" u="none" baseline="0" dirty="0"/>
            </a:br>
            <a:r>
              <a:rPr lang="fr-fr" sz="1600" b="0" i="1" u="none" baseline="0" dirty="0">
                <a:solidFill>
                  <a:schemeClr val="tx1"/>
                </a:solidFill>
                <a:cs typeface="Segoe UI"/>
              </a:rPr>
              <a:t>la concurrence. »</a:t>
            </a:r>
            <a:r>
              <a:rPr lang="fr-fr" sz="1600" i="1" dirty="0">
                <a:solidFill>
                  <a:schemeClr val="tx1"/>
                </a:solidFill>
                <a:cs typeface="Segoe UI"/>
              </a:rPr>
              <a:t> </a:t>
            </a:r>
            <a:endParaRPr lang="fr-fr" sz="1600" b="0" i="1" u="none" baseline="0" dirty="0">
              <a:solidFill>
                <a:schemeClr val="tx1"/>
              </a:solidFill>
            </a:endParaRPr>
          </a:p>
          <a:p>
            <a:pPr algn="l" rtl="0">
              <a:spcBef>
                <a:spcPts val="400"/>
              </a:spcBef>
              <a:spcAft>
                <a:spcPts val="400"/>
              </a:spcAft>
            </a:pPr>
            <a:r>
              <a:rPr lang="fr-fr" sz="1600" b="0" i="1" u="none" baseline="0" dirty="0">
                <a:solidFill>
                  <a:srgbClr val="4B53BC"/>
                </a:solidFill>
                <a:latin typeface="+mj-lt"/>
                <a:cs typeface="Segoe UI"/>
              </a:rPr>
              <a:t>David Peterson, Enterprise Collaboration Manager</a:t>
            </a:r>
          </a:p>
          <a:p>
            <a:pPr algn="l" rtl="0">
              <a:spcBef>
                <a:spcPts val="0"/>
              </a:spcBef>
              <a:spcAft>
                <a:spcPts val="400"/>
              </a:spcAft>
            </a:pPr>
            <a:r>
              <a:rPr lang="fr-fr" sz="1600" b="0" i="1" u="none" baseline="0" dirty="0">
                <a:solidFill>
                  <a:srgbClr val="4B53BC"/>
                </a:solidFill>
                <a:latin typeface="+mj-lt"/>
                <a:cs typeface="Segoe UI"/>
              </a:rPr>
              <a:t>Trek Bicycle</a:t>
            </a:r>
          </a:p>
        </p:txBody>
      </p:sp>
      <p:pic>
        <p:nvPicPr>
          <p:cNvPr id="17" name="Picture 16">
            <a:extLst>
              <a:ext uri="{FF2B5EF4-FFF2-40B4-BE49-F238E27FC236}">
                <a16:creationId xmlns:a16="http://schemas.microsoft.com/office/drawing/2014/main" id="{D6D3E97D-15E4-4220-9BCB-DB9C035051F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99911" y="5380232"/>
            <a:ext cx="1201935" cy="691761"/>
          </a:xfrm>
          <a:prstGeom prst="rect">
            <a:avLst/>
          </a:prstGeom>
        </p:spPr>
      </p:pic>
      <p:sp>
        <p:nvSpPr>
          <p:cNvPr id="14" name="Rectangle 13">
            <a:extLst>
              <a:ext uri="{FF2B5EF4-FFF2-40B4-BE49-F238E27FC236}">
                <a16:creationId xmlns:a16="http://schemas.microsoft.com/office/drawing/2014/main" id="{9B520105-02F2-46FB-8D46-63D2AD58B99A}"/>
              </a:ext>
            </a:extLst>
          </p:cNvPr>
          <p:cNvSpPr/>
          <p:nvPr/>
        </p:nvSpPr>
        <p:spPr bwMode="auto">
          <a:xfrm>
            <a:off x="7778750" y="1168400"/>
            <a:ext cx="4413249" cy="510063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pic>
        <p:nvPicPr>
          <p:cNvPr id="18" name="Picture 17">
            <a:extLst>
              <a:ext uri="{FF2B5EF4-FFF2-40B4-BE49-F238E27FC236}">
                <a16:creationId xmlns:a16="http://schemas.microsoft.com/office/drawing/2014/main" id="{71D2AF2A-22E7-4B8D-ACBD-328D5768B95A}"/>
              </a:ext>
            </a:extLst>
          </p:cNvPr>
          <p:cNvPicPr>
            <a:picLocks noChangeAspect="1"/>
          </p:cNvPicPr>
          <p:nvPr/>
        </p:nvPicPr>
        <p:blipFill rotWithShape="1">
          <a:blip r:embed="rId4"/>
          <a:stretch/>
        </p:blipFill>
        <p:spPr>
          <a:xfrm>
            <a:off x="7910286" y="1304338"/>
            <a:ext cx="4281714" cy="4828763"/>
          </a:xfrm>
          <a:prstGeom prst="rect">
            <a:avLst/>
          </a:prstGeom>
        </p:spPr>
      </p:pic>
      <p:sp>
        <p:nvSpPr>
          <p:cNvPr id="19" name="Arrow: Bent 18">
            <a:extLst>
              <a:ext uri="{FF2B5EF4-FFF2-40B4-BE49-F238E27FC236}">
                <a16:creationId xmlns:a16="http://schemas.microsoft.com/office/drawing/2014/main" id="{DC294C32-0EEE-4BFF-A8B7-B92F73F3D59C}"/>
              </a:ext>
            </a:extLst>
          </p:cNvPr>
          <p:cNvSpPr/>
          <p:nvPr/>
        </p:nvSpPr>
        <p:spPr bwMode="auto">
          <a:xfrm flipV="1">
            <a:off x="1527175" y="1871554"/>
            <a:ext cx="6179446" cy="1357421"/>
          </a:xfrm>
          <a:prstGeom prst="bentArrow">
            <a:avLst>
              <a:gd name="adj1" fmla="val 25000"/>
              <a:gd name="adj2" fmla="val 0"/>
              <a:gd name="adj3" fmla="val 25000"/>
              <a:gd name="adj4" fmla="val 5280"/>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3D72862E-ED5E-48A6-8FF5-49542086D464}"/>
              </a:ext>
            </a:extLst>
          </p:cNvPr>
          <p:cNvSpPr/>
          <p:nvPr/>
        </p:nvSpPr>
        <p:spPr bwMode="auto">
          <a:xfrm>
            <a:off x="997889" y="1447293"/>
            <a:ext cx="6780860" cy="437043"/>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64008" rIns="91440" bIns="64008" numCol="1" spcCol="0" rtlCol="0" fromWordArt="0" anchor="ctr" anchorCtr="0" forceAA="0" compatLnSpc="1">
            <a:prstTxWarp prst="textNoShape">
              <a:avLst/>
            </a:prstTxWarp>
            <a:spAutoFit/>
          </a:bodyPr>
          <a:lstStyle/>
          <a:p>
            <a:pPr defTabSz="932472" fontAlgn="base">
              <a:spcBef>
                <a:spcPct val="0"/>
              </a:spcBef>
              <a:spcAft>
                <a:spcPct val="0"/>
              </a:spcAft>
            </a:pPr>
            <a:r>
              <a:rPr lang="fr-FR" sz="2000" dirty="0">
                <a:solidFill>
                  <a:srgbClr val="FFFFFF"/>
                </a:solidFill>
                <a:latin typeface="Segoe UI Semibold"/>
                <a:ea typeface="Segoe UI" pitchFamily="34" charset="0"/>
                <a:cs typeface="Segoe UI Semibold"/>
              </a:rPr>
              <a:t>CAS D’UTILISATION</a:t>
            </a:r>
            <a:endParaRPr lang="fr-fr" sz="2000" b="0" i="0" u="none" baseline="0" dirty="0">
              <a:solidFill>
                <a:srgbClr val="FFFFFF"/>
              </a:solidFill>
              <a:latin typeface="Segoe UI Semibold"/>
              <a:ea typeface="Segoe UI" pitchFamily="34" charset="0"/>
              <a:cs typeface="Segoe UI Semibold"/>
            </a:endParaRPr>
          </a:p>
        </p:txBody>
      </p:sp>
      <p:sp>
        <p:nvSpPr>
          <p:cNvPr id="22" name="Oval 21">
            <a:extLst>
              <a:ext uri="{FF2B5EF4-FFF2-40B4-BE49-F238E27FC236}">
                <a16:creationId xmlns:a16="http://schemas.microsoft.com/office/drawing/2014/main" id="{DE7E8FF8-E28B-4A02-95B5-2D34BE4A98A9}"/>
              </a:ext>
            </a:extLst>
          </p:cNvPr>
          <p:cNvSpPr/>
          <p:nvPr/>
        </p:nvSpPr>
        <p:spPr bwMode="auto">
          <a:xfrm>
            <a:off x="588263" y="1331301"/>
            <a:ext cx="669026" cy="669026"/>
          </a:xfrm>
          <a:prstGeom prst="ellipse">
            <a:avLst/>
          </a:prstGeom>
          <a:solidFill>
            <a:schemeClr val="bg1"/>
          </a:solidFill>
          <a:ln w="6350">
            <a:solidFill>
              <a:srgbClr val="4B53B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3" name="Oval 22">
            <a:extLst>
              <a:ext uri="{FF2B5EF4-FFF2-40B4-BE49-F238E27FC236}">
                <a16:creationId xmlns:a16="http://schemas.microsoft.com/office/drawing/2014/main" id="{855C3D08-1E9D-4C1C-922B-3488C33A8DD1}"/>
              </a:ext>
            </a:extLst>
          </p:cNvPr>
          <p:cNvSpPr/>
          <p:nvPr/>
        </p:nvSpPr>
        <p:spPr bwMode="auto">
          <a:xfrm>
            <a:off x="623422" y="1366460"/>
            <a:ext cx="598708" cy="598708"/>
          </a:xfrm>
          <a:prstGeom prst="ellipse">
            <a:avLst/>
          </a:prstGeom>
          <a:solidFill>
            <a:schemeClr val="bg1"/>
          </a:solidFill>
          <a:ln w="3175">
            <a:solidFill>
              <a:schemeClr val="bg1">
                <a:lumMod val="9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4" name="Text Placeholder 11">
            <a:extLst>
              <a:ext uri="{FF2B5EF4-FFF2-40B4-BE49-F238E27FC236}">
                <a16:creationId xmlns:a16="http://schemas.microsoft.com/office/drawing/2014/main" id="{47649827-67D2-41AA-9F83-1EFC76B3C612}"/>
              </a:ext>
            </a:extLst>
          </p:cNvPr>
          <p:cNvSpPr txBox="1">
            <a:spLocks/>
          </p:cNvSpPr>
          <p:nvPr/>
        </p:nvSpPr>
        <p:spPr>
          <a:xfrm>
            <a:off x="1453016" y="1958311"/>
            <a:ext cx="5976484" cy="1138773"/>
          </a:xfrm>
          <a:prstGeom prst="rect">
            <a:avLst/>
          </a:prstGeom>
        </p:spPr>
        <p:txBody>
          <a:bodyPr vert="horz" wrap="square" lIns="0" tIns="0" rIns="0" bIns="0" rtlCol="0" anchor="t">
            <a:spAutoFit/>
          </a:bodyPr>
          <a:lst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23520" indent="-223520" algn="l" defTabSz="914400" rtl="0" fontAlgn="base">
              <a:lnSpc>
                <a:spcPct val="100000"/>
              </a:lnSpc>
              <a:spcBef>
                <a:spcPts val="1200"/>
              </a:spcBef>
              <a:buClr>
                <a:srgbClr val="4B53BC"/>
              </a:buClr>
              <a:buSzPct val="100000"/>
              <a:buBlip>
                <a:blip r:embed="rId5"/>
              </a:buBlip>
              <a:defRPr/>
            </a:pPr>
            <a:r>
              <a:rPr lang="fr-fr" sz="1800" b="0" i="0" u="none" baseline="0">
                <a:solidFill>
                  <a:schemeClr val="tx1"/>
                </a:solidFill>
                <a:latin typeface="+mn-lt"/>
                <a:cs typeface="Segoe UI"/>
              </a:rPr>
              <a:t>Des équipes dans le monde entier</a:t>
            </a:r>
          </a:p>
          <a:p>
            <a:pPr marL="223520" indent="-223520" algn="l" defTabSz="914400" rtl="0" fontAlgn="base">
              <a:lnSpc>
                <a:spcPct val="100000"/>
              </a:lnSpc>
              <a:spcBef>
                <a:spcPts val="1200"/>
              </a:spcBef>
              <a:buClr>
                <a:srgbClr val="4B53BC"/>
              </a:buClr>
              <a:buSzPct val="100000"/>
              <a:buBlip>
                <a:blip r:embed="rId5"/>
              </a:buBlip>
              <a:defRPr/>
            </a:pPr>
            <a:r>
              <a:rPr lang="fr-fr" sz="1800" b="0" i="0" u="none" baseline="0">
                <a:solidFill>
                  <a:schemeClr val="tx1"/>
                </a:solidFill>
                <a:latin typeface="+mn-lt"/>
                <a:cs typeface="Segoe UI"/>
              </a:rPr>
              <a:t>Chat et fichiers en un seul endroit</a:t>
            </a:r>
          </a:p>
          <a:p>
            <a:pPr marL="223520" indent="-223520" algn="l" defTabSz="914400" rtl="0" fontAlgn="base">
              <a:lnSpc>
                <a:spcPct val="100000"/>
              </a:lnSpc>
              <a:spcBef>
                <a:spcPts val="1200"/>
              </a:spcBef>
              <a:buClr>
                <a:srgbClr val="4B53BC"/>
              </a:buClr>
              <a:buSzPct val="100000"/>
              <a:buBlip>
                <a:blip r:embed="rId5"/>
              </a:buBlip>
              <a:defRPr/>
            </a:pPr>
            <a:r>
              <a:rPr lang="fr-fr" sz="1800" b="0" i="0" u="none" baseline="0">
                <a:solidFill>
                  <a:schemeClr val="tx1"/>
                </a:solidFill>
                <a:latin typeface="+mn-lt"/>
                <a:cs typeface="Segoe UI"/>
              </a:rPr>
              <a:t>Appels vidéo</a:t>
            </a:r>
          </a:p>
        </p:txBody>
      </p:sp>
      <p:grpSp>
        <p:nvGrpSpPr>
          <p:cNvPr id="2" name="Group 1">
            <a:extLst>
              <a:ext uri="{FF2B5EF4-FFF2-40B4-BE49-F238E27FC236}">
                <a16:creationId xmlns:a16="http://schemas.microsoft.com/office/drawing/2014/main" id="{8014EF1E-CF8C-4A31-905A-F01282BA8D75}"/>
              </a:ext>
            </a:extLst>
          </p:cNvPr>
          <p:cNvGrpSpPr/>
          <p:nvPr/>
        </p:nvGrpSpPr>
        <p:grpSpPr>
          <a:xfrm>
            <a:off x="747031" y="1496428"/>
            <a:ext cx="351491" cy="338773"/>
            <a:chOff x="-569058" y="2152650"/>
            <a:chExt cx="351491" cy="338773"/>
          </a:xfrm>
        </p:grpSpPr>
        <p:sp>
          <p:nvSpPr>
            <p:cNvPr id="13" name="Book_2" title="Icon of a book and a pencil">
              <a:extLst>
                <a:ext uri="{FF2B5EF4-FFF2-40B4-BE49-F238E27FC236}">
                  <a16:creationId xmlns:a16="http://schemas.microsoft.com/office/drawing/2014/main" id="{F2C3E864-018A-4C65-9C89-B7B292D1A359}"/>
                </a:ext>
              </a:extLst>
            </p:cNvPr>
            <p:cNvSpPr>
              <a:spLocks noChangeAspect="1" noEditPoints="1"/>
            </p:cNvSpPr>
            <p:nvPr/>
          </p:nvSpPr>
          <p:spPr bwMode="auto">
            <a:xfrm>
              <a:off x="-529389" y="2206785"/>
              <a:ext cx="311822" cy="284638"/>
            </a:xfrm>
            <a:custGeom>
              <a:avLst/>
              <a:gdLst>
                <a:gd name="T0" fmla="*/ 223 w 330"/>
                <a:gd name="T1" fmla="*/ 0 h 301"/>
                <a:gd name="T2" fmla="*/ 223 w 330"/>
                <a:gd name="T3" fmla="*/ 284 h 301"/>
                <a:gd name="T4" fmla="*/ 31 w 330"/>
                <a:gd name="T5" fmla="*/ 284 h 301"/>
                <a:gd name="T6" fmla="*/ 0 w 330"/>
                <a:gd name="T7" fmla="*/ 233 h 301"/>
                <a:gd name="T8" fmla="*/ 0 w 330"/>
                <a:gd name="T9" fmla="*/ 31 h 301"/>
                <a:gd name="T10" fmla="*/ 43 w 330"/>
                <a:gd name="T11" fmla="*/ 0 h 301"/>
                <a:gd name="T12" fmla="*/ 223 w 330"/>
                <a:gd name="T13" fmla="*/ 0 h 301"/>
                <a:gd name="T14" fmla="*/ 223 w 330"/>
                <a:gd name="T15" fmla="*/ 228 h 301"/>
                <a:gd name="T16" fmla="*/ 48 w 330"/>
                <a:gd name="T17" fmla="*/ 227 h 301"/>
                <a:gd name="T18" fmla="*/ 2 w 330"/>
                <a:gd name="T19" fmla="*/ 252 h 301"/>
                <a:gd name="T20" fmla="*/ 316 w 330"/>
                <a:gd name="T21" fmla="*/ 301 h 301"/>
                <a:gd name="T22" fmla="*/ 316 w 330"/>
                <a:gd name="T23" fmla="*/ 301 h 301"/>
                <a:gd name="T24" fmla="*/ 330 w 330"/>
                <a:gd name="T25" fmla="*/ 278 h 301"/>
                <a:gd name="T26" fmla="*/ 330 w 330"/>
                <a:gd name="T27" fmla="*/ 19 h 301"/>
                <a:gd name="T28" fmla="*/ 316 w 330"/>
                <a:gd name="T29" fmla="*/ 0 h 301"/>
                <a:gd name="T30" fmla="*/ 302 w 330"/>
                <a:gd name="T31" fmla="*/ 19 h 301"/>
                <a:gd name="T32" fmla="*/ 302 w 330"/>
                <a:gd name="T33" fmla="*/ 278 h 301"/>
                <a:gd name="T34" fmla="*/ 316 w 330"/>
                <a:gd name="T35" fmla="*/ 301 h 301"/>
                <a:gd name="T36" fmla="*/ 330 w 330"/>
                <a:gd name="T37" fmla="*/ 41 h 301"/>
                <a:gd name="T38" fmla="*/ 302 w 330"/>
                <a:gd name="T39" fmla="*/ 43 h 301"/>
                <a:gd name="T40" fmla="*/ 330 w 330"/>
                <a:gd name="T41" fmla="*/ 265 h 301"/>
                <a:gd name="T42" fmla="*/ 302 w 330"/>
                <a:gd name="T43" fmla="*/ 26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0" h="301">
                  <a:moveTo>
                    <a:pt x="223" y="0"/>
                  </a:moveTo>
                  <a:cubicBezTo>
                    <a:pt x="223" y="284"/>
                    <a:pt x="223" y="284"/>
                    <a:pt x="223" y="284"/>
                  </a:cubicBezTo>
                  <a:cubicBezTo>
                    <a:pt x="31" y="284"/>
                    <a:pt x="31" y="284"/>
                    <a:pt x="31" y="284"/>
                  </a:cubicBezTo>
                  <a:cubicBezTo>
                    <a:pt x="31" y="284"/>
                    <a:pt x="0" y="287"/>
                    <a:pt x="0" y="233"/>
                  </a:cubicBezTo>
                  <a:cubicBezTo>
                    <a:pt x="0" y="193"/>
                    <a:pt x="0" y="31"/>
                    <a:pt x="0" y="31"/>
                  </a:cubicBezTo>
                  <a:cubicBezTo>
                    <a:pt x="0" y="31"/>
                    <a:pt x="2" y="0"/>
                    <a:pt x="43" y="0"/>
                  </a:cubicBezTo>
                  <a:cubicBezTo>
                    <a:pt x="80" y="0"/>
                    <a:pt x="223" y="0"/>
                    <a:pt x="223" y="0"/>
                  </a:cubicBezTo>
                  <a:close/>
                  <a:moveTo>
                    <a:pt x="223" y="228"/>
                  </a:moveTo>
                  <a:cubicBezTo>
                    <a:pt x="41" y="228"/>
                    <a:pt x="48" y="227"/>
                    <a:pt x="48" y="227"/>
                  </a:cubicBezTo>
                  <a:cubicBezTo>
                    <a:pt x="48" y="227"/>
                    <a:pt x="6" y="223"/>
                    <a:pt x="2" y="252"/>
                  </a:cubicBezTo>
                  <a:moveTo>
                    <a:pt x="316" y="301"/>
                  </a:moveTo>
                  <a:cubicBezTo>
                    <a:pt x="316" y="301"/>
                    <a:pt x="316" y="301"/>
                    <a:pt x="316" y="301"/>
                  </a:cubicBezTo>
                  <a:cubicBezTo>
                    <a:pt x="330" y="278"/>
                    <a:pt x="330" y="278"/>
                    <a:pt x="330" y="278"/>
                  </a:cubicBezTo>
                  <a:cubicBezTo>
                    <a:pt x="330" y="278"/>
                    <a:pt x="330" y="278"/>
                    <a:pt x="330" y="19"/>
                  </a:cubicBezTo>
                  <a:cubicBezTo>
                    <a:pt x="330" y="19"/>
                    <a:pt x="329" y="0"/>
                    <a:pt x="316" y="0"/>
                  </a:cubicBezTo>
                  <a:cubicBezTo>
                    <a:pt x="303" y="0"/>
                    <a:pt x="302" y="19"/>
                    <a:pt x="302" y="19"/>
                  </a:cubicBezTo>
                  <a:cubicBezTo>
                    <a:pt x="302" y="19"/>
                    <a:pt x="302" y="19"/>
                    <a:pt x="302" y="278"/>
                  </a:cubicBezTo>
                  <a:cubicBezTo>
                    <a:pt x="302" y="278"/>
                    <a:pt x="302" y="278"/>
                    <a:pt x="316" y="301"/>
                  </a:cubicBezTo>
                  <a:close/>
                  <a:moveTo>
                    <a:pt x="330" y="41"/>
                  </a:moveTo>
                  <a:cubicBezTo>
                    <a:pt x="313" y="22"/>
                    <a:pt x="302" y="43"/>
                    <a:pt x="302" y="43"/>
                  </a:cubicBezTo>
                  <a:moveTo>
                    <a:pt x="330" y="265"/>
                  </a:moveTo>
                  <a:cubicBezTo>
                    <a:pt x="316" y="244"/>
                    <a:pt x="302" y="265"/>
                    <a:pt x="302" y="265"/>
                  </a:cubicBezTo>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cs typeface="Segoe UI"/>
              </a:endParaRPr>
            </a:p>
          </p:txBody>
        </p:sp>
        <p:sp>
          <p:nvSpPr>
            <p:cNvPr id="15" name="magnify" title="Icon of a magnifying glass">
              <a:extLst>
                <a:ext uri="{FF2B5EF4-FFF2-40B4-BE49-F238E27FC236}">
                  <a16:creationId xmlns:a16="http://schemas.microsoft.com/office/drawing/2014/main" id="{2E83D37D-4DF4-41FE-9FD7-3613E9309F17}"/>
                </a:ext>
              </a:extLst>
            </p:cNvPr>
            <p:cNvSpPr>
              <a:spLocks noChangeAspect="1" noEditPoints="1"/>
            </p:cNvSpPr>
            <p:nvPr/>
          </p:nvSpPr>
          <p:spPr bwMode="auto">
            <a:xfrm flipH="1">
              <a:off x="-569058" y="2152650"/>
              <a:ext cx="298440" cy="29273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grpSp>
    </p:spTree>
    <p:extLst>
      <p:ext uri="{BB962C8B-B14F-4D97-AF65-F5344CB8AC3E}">
        <p14:creationId xmlns:p14="http://schemas.microsoft.com/office/powerpoint/2010/main" val="62947339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2">
            <a:extLst>
              <a:ext uri="{FF2B5EF4-FFF2-40B4-BE49-F238E27FC236}">
                <a16:creationId xmlns:a16="http://schemas.microsoft.com/office/drawing/2014/main" id="{E0E8A4FC-4122-4116-84B6-366CB2787A55}"/>
              </a:ext>
            </a:extLst>
          </p:cNvPr>
          <p:cNvSpPr txBox="1">
            <a:spLocks/>
          </p:cNvSpPr>
          <p:nvPr/>
        </p:nvSpPr>
        <p:spPr>
          <a:xfrm>
            <a:off x="-1" y="3428999"/>
            <a:ext cx="7778749" cy="28400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182880" rIns="182880" bIns="182880" numCol="1" spcCol="0" rtlCol="0" fromWordArt="0" anchor="t" anchorCtr="0" forceAA="0" compatLnSpc="1">
            <a:prstTxWarp prst="textNoShape">
              <a:avLst/>
            </a:prstTxWarp>
            <a:noAutofit/>
          </a:bodyPr>
          <a:lstStyle>
            <a:defPPr>
              <a:defRPr lang="fr-fr"/>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rtl="0"/>
            <a:r>
              <a:rPr lang="fr-fr" sz="1800" b="0" i="0" u="none" baseline="0" dirty="0">
                <a:solidFill>
                  <a:srgbClr val="4B53BC"/>
                </a:solidFill>
                <a:cs typeface="Segoe UI"/>
              </a:rPr>
              <a:t>Usage de Microsoft Teams :</a:t>
            </a:r>
          </a:p>
          <a:p>
            <a:pPr algn="l" rtl="0">
              <a:spcBef>
                <a:spcPts val="600"/>
              </a:spcBef>
              <a:spcAft>
                <a:spcPts val="400"/>
              </a:spcAft>
            </a:pPr>
            <a:r>
              <a:rPr lang="fr-fr" sz="1600" b="0" i="1" u="none" baseline="0" dirty="0">
                <a:solidFill>
                  <a:schemeClr val="tx1"/>
                </a:solidFill>
                <a:cs typeface="Segoe UI"/>
              </a:rPr>
              <a:t>« Nos collaborateurs ont été agréablement surpris par l</a:t>
            </a:r>
            <a:r>
              <a:rPr lang="fr-FR" sz="1600" b="0" i="1" u="none" baseline="0" dirty="0">
                <a:solidFill>
                  <a:schemeClr val="tx1"/>
                </a:solidFill>
                <a:cs typeface="Segoe UI"/>
              </a:rPr>
              <a:t>’</a:t>
            </a:r>
            <a:r>
              <a:rPr lang="fr-fr" sz="1600" b="0" i="1" u="none" baseline="0" dirty="0">
                <a:solidFill>
                  <a:schemeClr val="tx1"/>
                </a:solidFill>
                <a:cs typeface="Segoe UI"/>
              </a:rPr>
              <a:t>interface intuitive </a:t>
            </a:r>
            <a:br>
              <a:rPr lang="fr-fr" sz="1600" b="0" i="1" u="none" baseline="0" dirty="0"/>
            </a:br>
            <a:r>
              <a:rPr lang="fr-fr" sz="1600" b="0" i="1" u="none" baseline="0" dirty="0">
                <a:solidFill>
                  <a:schemeClr val="tx1"/>
                </a:solidFill>
                <a:cs typeface="Segoe UI"/>
              </a:rPr>
              <a:t>et la capacité que leur donne Microsoft Teams de mobiliser les équipes comme jamais auparavant. Il est facile d</a:t>
            </a:r>
            <a:r>
              <a:rPr lang="fr-FR" sz="1600" b="0" i="1" u="none" baseline="0" dirty="0">
                <a:solidFill>
                  <a:schemeClr val="tx1"/>
                </a:solidFill>
                <a:cs typeface="Segoe UI"/>
              </a:rPr>
              <a:t>’</a:t>
            </a:r>
            <a:r>
              <a:rPr lang="fr-fr" sz="1600" b="0" i="1" u="none" baseline="0" dirty="0">
                <a:solidFill>
                  <a:schemeClr val="tx1"/>
                </a:solidFill>
                <a:cs typeface="Segoe UI"/>
              </a:rPr>
              <a:t>intégrer des gens en milieu de projet, et cela fonctionne bien sur un Mac. Et comme toutes les autres applications Office 365, elle apporte une structure et une sécurité qui nous font nous sentir à l</a:t>
            </a:r>
            <a:r>
              <a:rPr lang="fr-FR" sz="1600" b="0" i="1" u="none" baseline="0" dirty="0">
                <a:solidFill>
                  <a:schemeClr val="tx1"/>
                </a:solidFill>
                <a:cs typeface="Segoe UI"/>
              </a:rPr>
              <a:t>’</a:t>
            </a:r>
            <a:r>
              <a:rPr lang="fr-fr" sz="1600" b="0" i="1" u="none" baseline="0" dirty="0">
                <a:solidFill>
                  <a:schemeClr val="tx1"/>
                </a:solidFill>
                <a:cs typeface="Segoe UI"/>
              </a:rPr>
              <a:t>aise </a:t>
            </a:r>
            <a:br>
              <a:rPr lang="fr-fr" sz="1600" b="0" i="1" u="none" baseline="0" dirty="0"/>
            </a:br>
            <a:r>
              <a:rPr lang="fr-fr" sz="1600" b="0" i="1" u="none" baseline="0" dirty="0">
                <a:solidFill>
                  <a:schemeClr val="tx1"/>
                </a:solidFill>
                <a:cs typeface="Segoe UI"/>
              </a:rPr>
              <a:t>avec les solutions cloud de Microsoft. »</a:t>
            </a:r>
          </a:p>
          <a:p>
            <a:pPr algn="l" rtl="0">
              <a:spcBef>
                <a:spcPts val="400"/>
              </a:spcBef>
              <a:spcAft>
                <a:spcPts val="400"/>
              </a:spcAft>
            </a:pPr>
            <a:r>
              <a:rPr lang="fr-fr" sz="1600" b="0" i="1" u="none" baseline="0" dirty="0">
                <a:solidFill>
                  <a:srgbClr val="4B53BC"/>
                </a:solidFill>
                <a:latin typeface="+mj-lt"/>
                <a:cs typeface="Segoe UI"/>
              </a:rPr>
              <a:t>Jamie </a:t>
            </a:r>
            <a:r>
              <a:rPr lang="fr-fr" sz="1600" b="0" i="1" u="none" baseline="0" dirty="0" err="1">
                <a:solidFill>
                  <a:srgbClr val="4B53BC"/>
                </a:solidFill>
                <a:latin typeface="+mj-lt"/>
                <a:cs typeface="Segoe UI"/>
              </a:rPr>
              <a:t>McLellan</a:t>
            </a:r>
            <a:r>
              <a:rPr lang="fr-fr" sz="1600" b="0" i="1" u="none" baseline="0" dirty="0">
                <a:solidFill>
                  <a:srgbClr val="4B53BC"/>
                </a:solidFill>
                <a:latin typeface="+mj-lt"/>
                <a:cs typeface="Segoe UI"/>
              </a:rPr>
              <a:t>, Chief </a:t>
            </a:r>
            <a:r>
              <a:rPr lang="fr-fr" sz="1600" b="0" i="1" u="none" baseline="0" dirty="0" err="1">
                <a:solidFill>
                  <a:srgbClr val="4B53BC"/>
                </a:solidFill>
                <a:latin typeface="+mj-lt"/>
                <a:cs typeface="Segoe UI"/>
              </a:rPr>
              <a:t>Technology</a:t>
            </a:r>
            <a:r>
              <a:rPr lang="fr-fr" sz="1600" b="0" i="1" u="none" baseline="0" dirty="0">
                <a:solidFill>
                  <a:srgbClr val="4B53BC"/>
                </a:solidFill>
                <a:latin typeface="+mj-lt"/>
                <a:cs typeface="Segoe UI"/>
              </a:rPr>
              <a:t> </a:t>
            </a:r>
            <a:r>
              <a:rPr lang="fr-fr" sz="1600" b="0" i="1" u="none" baseline="0" dirty="0" err="1">
                <a:solidFill>
                  <a:srgbClr val="4B53BC"/>
                </a:solidFill>
                <a:latin typeface="+mj-lt"/>
                <a:cs typeface="Segoe UI"/>
              </a:rPr>
              <a:t>Officer</a:t>
            </a:r>
            <a:endParaRPr lang="fr-fr" sz="1600" b="0" i="1" u="none" baseline="0" dirty="0">
              <a:solidFill>
                <a:srgbClr val="4B53BC"/>
              </a:solidFill>
              <a:latin typeface="+mj-lt"/>
              <a:cs typeface="Segoe UI"/>
            </a:endParaRPr>
          </a:p>
          <a:p>
            <a:pPr algn="l" rtl="0">
              <a:spcBef>
                <a:spcPts val="0"/>
              </a:spcBef>
              <a:spcAft>
                <a:spcPts val="400"/>
              </a:spcAft>
            </a:pPr>
            <a:r>
              <a:rPr lang="fr-fr" sz="1600" b="0" i="1" u="none" baseline="0" dirty="0">
                <a:solidFill>
                  <a:srgbClr val="4B53BC"/>
                </a:solidFill>
                <a:latin typeface="+mj-lt"/>
                <a:cs typeface="Segoe UI"/>
              </a:rPr>
              <a:t>J. Walter Thompson</a:t>
            </a:r>
          </a:p>
        </p:txBody>
      </p:sp>
      <p:sp>
        <p:nvSpPr>
          <p:cNvPr id="19" name="Rectangle 18">
            <a:extLst>
              <a:ext uri="{FF2B5EF4-FFF2-40B4-BE49-F238E27FC236}">
                <a16:creationId xmlns:a16="http://schemas.microsoft.com/office/drawing/2014/main" id="{4B3EE417-3892-4D23-96E0-91A7470A7022}"/>
              </a:ext>
            </a:extLst>
          </p:cNvPr>
          <p:cNvSpPr/>
          <p:nvPr/>
        </p:nvSpPr>
        <p:spPr bwMode="auto">
          <a:xfrm>
            <a:off x="7778750" y="1168400"/>
            <a:ext cx="4413249" cy="510063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pic>
        <p:nvPicPr>
          <p:cNvPr id="27" name="Picture 26">
            <a:extLst>
              <a:ext uri="{FF2B5EF4-FFF2-40B4-BE49-F238E27FC236}">
                <a16:creationId xmlns:a16="http://schemas.microsoft.com/office/drawing/2014/main" id="{A0497C2F-8B16-41C1-AF54-B3600016A273}"/>
              </a:ext>
            </a:extLst>
          </p:cNvPr>
          <p:cNvPicPr>
            <a:picLocks noChangeAspect="1"/>
          </p:cNvPicPr>
          <p:nvPr/>
        </p:nvPicPr>
        <p:blipFill rotWithShape="1">
          <a:blip r:embed="rId3"/>
          <a:stretch/>
        </p:blipFill>
        <p:spPr>
          <a:xfrm>
            <a:off x="7910286" y="1304338"/>
            <a:ext cx="4281714" cy="4834703"/>
          </a:xfrm>
          <a:prstGeom prst="rect">
            <a:avLst/>
          </a:prstGeom>
        </p:spPr>
      </p:pic>
      <p:sp>
        <p:nvSpPr>
          <p:cNvPr id="4" name="Title 3">
            <a:extLst>
              <a:ext uri="{FF2B5EF4-FFF2-40B4-BE49-F238E27FC236}">
                <a16:creationId xmlns:a16="http://schemas.microsoft.com/office/drawing/2014/main" id="{65E30DB7-8D96-41A7-A39D-587215542D39}"/>
              </a:ext>
            </a:extLst>
          </p:cNvPr>
          <p:cNvSpPr>
            <a:spLocks noGrp="1"/>
          </p:cNvSpPr>
          <p:nvPr>
            <p:ph type="title"/>
          </p:nvPr>
        </p:nvSpPr>
        <p:spPr/>
        <p:txBody>
          <a:bodyPr/>
          <a:lstStyle/>
          <a:p>
            <a:r>
              <a:rPr lang="fr-fr" b="0" i="0" u="none" baseline="0" dirty="0">
                <a:cs typeface="Segoe UI"/>
              </a:rPr>
              <a:t>J. Walter Thompson</a:t>
            </a:r>
            <a:r>
              <a:rPr lang="fr-fr" dirty="0">
                <a:cs typeface="Segoe UI"/>
              </a:rPr>
              <a:t> </a:t>
            </a:r>
            <a:endParaRPr lang="fr-fr" b="0" i="0" u="none" baseline="0" dirty="0"/>
          </a:p>
        </p:txBody>
      </p:sp>
      <p:sp>
        <p:nvSpPr>
          <p:cNvPr id="21" name="Arrow: Bent 20">
            <a:extLst>
              <a:ext uri="{FF2B5EF4-FFF2-40B4-BE49-F238E27FC236}">
                <a16:creationId xmlns:a16="http://schemas.microsoft.com/office/drawing/2014/main" id="{0E48B417-AEAD-4891-B056-0956B866FC47}"/>
              </a:ext>
            </a:extLst>
          </p:cNvPr>
          <p:cNvSpPr/>
          <p:nvPr/>
        </p:nvSpPr>
        <p:spPr bwMode="auto">
          <a:xfrm flipV="1">
            <a:off x="1527175" y="1871554"/>
            <a:ext cx="6179446" cy="1357421"/>
          </a:xfrm>
          <a:prstGeom prst="bentArrow">
            <a:avLst>
              <a:gd name="adj1" fmla="val 25000"/>
              <a:gd name="adj2" fmla="val 0"/>
              <a:gd name="adj3" fmla="val 25000"/>
              <a:gd name="adj4" fmla="val 5280"/>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F07A9B4C-EC72-4A2F-8431-842B2D191F35}"/>
              </a:ext>
            </a:extLst>
          </p:cNvPr>
          <p:cNvSpPr/>
          <p:nvPr/>
        </p:nvSpPr>
        <p:spPr bwMode="auto">
          <a:xfrm>
            <a:off x="997889" y="1447293"/>
            <a:ext cx="6780860" cy="437043"/>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64008" rIns="91440" bIns="64008" numCol="1" spcCol="0" rtlCol="0" fromWordArt="0" anchor="ctr" anchorCtr="0" forceAA="0" compatLnSpc="1">
            <a:prstTxWarp prst="textNoShape">
              <a:avLst/>
            </a:prstTxWarp>
            <a:spAutoFit/>
          </a:bodyPr>
          <a:lstStyle/>
          <a:p>
            <a:pPr defTabSz="932472" fontAlgn="base">
              <a:spcBef>
                <a:spcPct val="0"/>
              </a:spcBef>
              <a:spcAft>
                <a:spcPct val="0"/>
              </a:spcAft>
            </a:pPr>
            <a:r>
              <a:rPr lang="fr-FR" sz="2000" dirty="0">
                <a:solidFill>
                  <a:srgbClr val="FFFFFF"/>
                </a:solidFill>
                <a:latin typeface="Segoe UI Semibold"/>
                <a:ea typeface="Segoe UI" pitchFamily="34" charset="0"/>
                <a:cs typeface="Segoe UI Semibold"/>
              </a:rPr>
              <a:t>CAS D’UTILISATION</a:t>
            </a:r>
            <a:endParaRPr lang="fr-fr" sz="2000" b="0" i="0" u="none" baseline="0" dirty="0">
              <a:solidFill>
                <a:srgbClr val="FFFFFF"/>
              </a:solidFill>
              <a:latin typeface="Segoe UI Semibold"/>
              <a:ea typeface="Segoe UI" pitchFamily="34" charset="0"/>
              <a:cs typeface="Segoe UI Semibold"/>
            </a:endParaRPr>
          </a:p>
        </p:txBody>
      </p:sp>
      <p:sp>
        <p:nvSpPr>
          <p:cNvPr id="23" name="Oval 22">
            <a:extLst>
              <a:ext uri="{FF2B5EF4-FFF2-40B4-BE49-F238E27FC236}">
                <a16:creationId xmlns:a16="http://schemas.microsoft.com/office/drawing/2014/main" id="{161A3597-84CA-46B5-B0FB-FB3E4B6E9199}"/>
              </a:ext>
            </a:extLst>
          </p:cNvPr>
          <p:cNvSpPr/>
          <p:nvPr/>
        </p:nvSpPr>
        <p:spPr bwMode="auto">
          <a:xfrm>
            <a:off x="588263" y="1331301"/>
            <a:ext cx="669026" cy="669026"/>
          </a:xfrm>
          <a:prstGeom prst="ellipse">
            <a:avLst/>
          </a:prstGeom>
          <a:solidFill>
            <a:schemeClr val="bg1"/>
          </a:solidFill>
          <a:ln w="6350">
            <a:solidFill>
              <a:srgbClr val="4B53B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4" name="Oval 23">
            <a:extLst>
              <a:ext uri="{FF2B5EF4-FFF2-40B4-BE49-F238E27FC236}">
                <a16:creationId xmlns:a16="http://schemas.microsoft.com/office/drawing/2014/main" id="{C7F61473-41B7-4F16-AB84-AF5BFB2BE7CE}"/>
              </a:ext>
            </a:extLst>
          </p:cNvPr>
          <p:cNvSpPr/>
          <p:nvPr/>
        </p:nvSpPr>
        <p:spPr bwMode="auto">
          <a:xfrm>
            <a:off x="623422" y="1366460"/>
            <a:ext cx="598708" cy="598708"/>
          </a:xfrm>
          <a:prstGeom prst="ellipse">
            <a:avLst/>
          </a:prstGeom>
          <a:solidFill>
            <a:schemeClr val="bg1"/>
          </a:solidFill>
          <a:ln w="3175">
            <a:solidFill>
              <a:schemeClr val="bg1">
                <a:lumMod val="9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5" name="Text Placeholder 11">
            <a:extLst>
              <a:ext uri="{FF2B5EF4-FFF2-40B4-BE49-F238E27FC236}">
                <a16:creationId xmlns:a16="http://schemas.microsoft.com/office/drawing/2014/main" id="{0795FE3C-E06C-4795-9215-79B2F5E37F24}"/>
              </a:ext>
            </a:extLst>
          </p:cNvPr>
          <p:cNvSpPr txBox="1">
            <a:spLocks/>
          </p:cNvSpPr>
          <p:nvPr/>
        </p:nvSpPr>
        <p:spPr>
          <a:xfrm>
            <a:off x="1453016" y="1958311"/>
            <a:ext cx="5976484" cy="1138773"/>
          </a:xfrm>
          <a:prstGeom prst="rect">
            <a:avLst/>
          </a:prstGeom>
        </p:spPr>
        <p:txBody>
          <a:bodyPr vert="horz" wrap="square" lIns="0" tIns="0" rIns="0" bIns="0" rtlCol="0" anchor="t">
            <a:spAutoFit/>
          </a:bodyPr>
          <a:lst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23520" indent="-223520" algn="l" defTabSz="914400" rtl="0" fontAlgn="base">
              <a:lnSpc>
                <a:spcPct val="100000"/>
              </a:lnSpc>
              <a:spcBef>
                <a:spcPts val="1200"/>
              </a:spcBef>
              <a:buClr>
                <a:srgbClr val="4B53BC"/>
              </a:buClr>
              <a:buSzPct val="100000"/>
              <a:buBlip>
                <a:blip r:embed="rId4"/>
              </a:buBlip>
              <a:defRPr/>
            </a:pPr>
            <a:r>
              <a:rPr lang="fr-fr" sz="1800" b="0" i="0" u="none" baseline="0">
                <a:solidFill>
                  <a:schemeClr val="tx1"/>
                </a:solidFill>
                <a:latin typeface="+mn-lt"/>
                <a:cs typeface="Segoe UI"/>
              </a:rPr>
              <a:t>Des effectifs dispersés</a:t>
            </a:r>
          </a:p>
          <a:p>
            <a:pPr marL="223520" indent="-223520" algn="l" defTabSz="914400" rtl="0" fontAlgn="base">
              <a:lnSpc>
                <a:spcPct val="100000"/>
              </a:lnSpc>
              <a:spcBef>
                <a:spcPts val="1200"/>
              </a:spcBef>
              <a:buClr>
                <a:srgbClr val="4B53BC"/>
              </a:buClr>
              <a:buSzPct val="100000"/>
              <a:buBlip>
                <a:blip r:embed="rId4"/>
              </a:buBlip>
              <a:defRPr/>
            </a:pPr>
            <a:r>
              <a:rPr lang="fr-fr" sz="1800" b="0" i="0" u="none" baseline="0">
                <a:solidFill>
                  <a:schemeClr val="tx1"/>
                </a:solidFill>
                <a:latin typeface="+mn-lt"/>
                <a:cs typeface="Segoe UI"/>
              </a:rPr>
              <a:t>Un espace de travail partagé unique</a:t>
            </a:r>
          </a:p>
          <a:p>
            <a:pPr marL="223520" indent="-223520" algn="l" defTabSz="914400" rtl="0" fontAlgn="base">
              <a:lnSpc>
                <a:spcPct val="100000"/>
              </a:lnSpc>
              <a:spcBef>
                <a:spcPts val="1200"/>
              </a:spcBef>
              <a:buClr>
                <a:srgbClr val="4B53BC"/>
              </a:buClr>
              <a:buSzPct val="100000"/>
              <a:buBlip>
                <a:blip r:embed="rId4"/>
              </a:buBlip>
              <a:defRPr/>
            </a:pPr>
            <a:r>
              <a:rPr lang="fr-fr" sz="1800" b="0" i="0" u="none" baseline="0">
                <a:solidFill>
                  <a:schemeClr val="tx1"/>
                </a:solidFill>
                <a:latin typeface="+mn-lt"/>
                <a:cs typeface="Segoe UI"/>
              </a:rPr>
              <a:t>Une interface intuitive</a:t>
            </a:r>
          </a:p>
        </p:txBody>
      </p:sp>
      <p:pic>
        <p:nvPicPr>
          <p:cNvPr id="29" name="Picture 28">
            <a:extLst>
              <a:ext uri="{FF2B5EF4-FFF2-40B4-BE49-F238E27FC236}">
                <a16:creationId xmlns:a16="http://schemas.microsoft.com/office/drawing/2014/main" id="{66B26425-AD85-4063-9440-7A7ACD8E3EA4}"/>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192482" y="5540729"/>
            <a:ext cx="1409364" cy="531264"/>
          </a:xfrm>
          <a:prstGeom prst="rect">
            <a:avLst/>
          </a:prstGeom>
        </p:spPr>
      </p:pic>
      <p:grpSp>
        <p:nvGrpSpPr>
          <p:cNvPr id="13" name="Group 12">
            <a:extLst>
              <a:ext uri="{FF2B5EF4-FFF2-40B4-BE49-F238E27FC236}">
                <a16:creationId xmlns:a16="http://schemas.microsoft.com/office/drawing/2014/main" id="{2B23F349-EAF5-4F74-B973-9BCC24ABA9CF}"/>
              </a:ext>
            </a:extLst>
          </p:cNvPr>
          <p:cNvGrpSpPr/>
          <p:nvPr/>
        </p:nvGrpSpPr>
        <p:grpSpPr>
          <a:xfrm>
            <a:off x="747031" y="1496428"/>
            <a:ext cx="351491" cy="338773"/>
            <a:chOff x="-569058" y="2152650"/>
            <a:chExt cx="351491" cy="338773"/>
          </a:xfrm>
        </p:grpSpPr>
        <p:sp>
          <p:nvSpPr>
            <p:cNvPr id="14" name="Book_2" title="Icon of a book and a pencil">
              <a:extLst>
                <a:ext uri="{FF2B5EF4-FFF2-40B4-BE49-F238E27FC236}">
                  <a16:creationId xmlns:a16="http://schemas.microsoft.com/office/drawing/2014/main" id="{3D6E4D97-5B30-48CD-94A8-C300ECBF2761}"/>
                </a:ext>
              </a:extLst>
            </p:cNvPr>
            <p:cNvSpPr>
              <a:spLocks noChangeAspect="1" noEditPoints="1"/>
            </p:cNvSpPr>
            <p:nvPr/>
          </p:nvSpPr>
          <p:spPr bwMode="auto">
            <a:xfrm>
              <a:off x="-529389" y="2206785"/>
              <a:ext cx="311822" cy="284638"/>
            </a:xfrm>
            <a:custGeom>
              <a:avLst/>
              <a:gdLst>
                <a:gd name="T0" fmla="*/ 223 w 330"/>
                <a:gd name="T1" fmla="*/ 0 h 301"/>
                <a:gd name="T2" fmla="*/ 223 w 330"/>
                <a:gd name="T3" fmla="*/ 284 h 301"/>
                <a:gd name="T4" fmla="*/ 31 w 330"/>
                <a:gd name="T5" fmla="*/ 284 h 301"/>
                <a:gd name="T6" fmla="*/ 0 w 330"/>
                <a:gd name="T7" fmla="*/ 233 h 301"/>
                <a:gd name="T8" fmla="*/ 0 w 330"/>
                <a:gd name="T9" fmla="*/ 31 h 301"/>
                <a:gd name="T10" fmla="*/ 43 w 330"/>
                <a:gd name="T11" fmla="*/ 0 h 301"/>
                <a:gd name="T12" fmla="*/ 223 w 330"/>
                <a:gd name="T13" fmla="*/ 0 h 301"/>
                <a:gd name="T14" fmla="*/ 223 w 330"/>
                <a:gd name="T15" fmla="*/ 228 h 301"/>
                <a:gd name="T16" fmla="*/ 48 w 330"/>
                <a:gd name="T17" fmla="*/ 227 h 301"/>
                <a:gd name="T18" fmla="*/ 2 w 330"/>
                <a:gd name="T19" fmla="*/ 252 h 301"/>
                <a:gd name="T20" fmla="*/ 316 w 330"/>
                <a:gd name="T21" fmla="*/ 301 h 301"/>
                <a:gd name="T22" fmla="*/ 316 w 330"/>
                <a:gd name="T23" fmla="*/ 301 h 301"/>
                <a:gd name="T24" fmla="*/ 330 w 330"/>
                <a:gd name="T25" fmla="*/ 278 h 301"/>
                <a:gd name="T26" fmla="*/ 330 w 330"/>
                <a:gd name="T27" fmla="*/ 19 h 301"/>
                <a:gd name="T28" fmla="*/ 316 w 330"/>
                <a:gd name="T29" fmla="*/ 0 h 301"/>
                <a:gd name="T30" fmla="*/ 302 w 330"/>
                <a:gd name="T31" fmla="*/ 19 h 301"/>
                <a:gd name="T32" fmla="*/ 302 w 330"/>
                <a:gd name="T33" fmla="*/ 278 h 301"/>
                <a:gd name="T34" fmla="*/ 316 w 330"/>
                <a:gd name="T35" fmla="*/ 301 h 301"/>
                <a:gd name="T36" fmla="*/ 330 w 330"/>
                <a:gd name="T37" fmla="*/ 41 h 301"/>
                <a:gd name="T38" fmla="*/ 302 w 330"/>
                <a:gd name="T39" fmla="*/ 43 h 301"/>
                <a:gd name="T40" fmla="*/ 330 w 330"/>
                <a:gd name="T41" fmla="*/ 265 h 301"/>
                <a:gd name="T42" fmla="*/ 302 w 330"/>
                <a:gd name="T43" fmla="*/ 26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0" h="301">
                  <a:moveTo>
                    <a:pt x="223" y="0"/>
                  </a:moveTo>
                  <a:cubicBezTo>
                    <a:pt x="223" y="284"/>
                    <a:pt x="223" y="284"/>
                    <a:pt x="223" y="284"/>
                  </a:cubicBezTo>
                  <a:cubicBezTo>
                    <a:pt x="31" y="284"/>
                    <a:pt x="31" y="284"/>
                    <a:pt x="31" y="284"/>
                  </a:cubicBezTo>
                  <a:cubicBezTo>
                    <a:pt x="31" y="284"/>
                    <a:pt x="0" y="287"/>
                    <a:pt x="0" y="233"/>
                  </a:cubicBezTo>
                  <a:cubicBezTo>
                    <a:pt x="0" y="193"/>
                    <a:pt x="0" y="31"/>
                    <a:pt x="0" y="31"/>
                  </a:cubicBezTo>
                  <a:cubicBezTo>
                    <a:pt x="0" y="31"/>
                    <a:pt x="2" y="0"/>
                    <a:pt x="43" y="0"/>
                  </a:cubicBezTo>
                  <a:cubicBezTo>
                    <a:pt x="80" y="0"/>
                    <a:pt x="223" y="0"/>
                    <a:pt x="223" y="0"/>
                  </a:cubicBezTo>
                  <a:close/>
                  <a:moveTo>
                    <a:pt x="223" y="228"/>
                  </a:moveTo>
                  <a:cubicBezTo>
                    <a:pt x="41" y="228"/>
                    <a:pt x="48" y="227"/>
                    <a:pt x="48" y="227"/>
                  </a:cubicBezTo>
                  <a:cubicBezTo>
                    <a:pt x="48" y="227"/>
                    <a:pt x="6" y="223"/>
                    <a:pt x="2" y="252"/>
                  </a:cubicBezTo>
                  <a:moveTo>
                    <a:pt x="316" y="301"/>
                  </a:moveTo>
                  <a:cubicBezTo>
                    <a:pt x="316" y="301"/>
                    <a:pt x="316" y="301"/>
                    <a:pt x="316" y="301"/>
                  </a:cubicBezTo>
                  <a:cubicBezTo>
                    <a:pt x="330" y="278"/>
                    <a:pt x="330" y="278"/>
                    <a:pt x="330" y="278"/>
                  </a:cubicBezTo>
                  <a:cubicBezTo>
                    <a:pt x="330" y="278"/>
                    <a:pt x="330" y="278"/>
                    <a:pt x="330" y="19"/>
                  </a:cubicBezTo>
                  <a:cubicBezTo>
                    <a:pt x="330" y="19"/>
                    <a:pt x="329" y="0"/>
                    <a:pt x="316" y="0"/>
                  </a:cubicBezTo>
                  <a:cubicBezTo>
                    <a:pt x="303" y="0"/>
                    <a:pt x="302" y="19"/>
                    <a:pt x="302" y="19"/>
                  </a:cubicBezTo>
                  <a:cubicBezTo>
                    <a:pt x="302" y="19"/>
                    <a:pt x="302" y="19"/>
                    <a:pt x="302" y="278"/>
                  </a:cubicBezTo>
                  <a:cubicBezTo>
                    <a:pt x="302" y="278"/>
                    <a:pt x="302" y="278"/>
                    <a:pt x="316" y="301"/>
                  </a:cubicBezTo>
                  <a:close/>
                  <a:moveTo>
                    <a:pt x="330" y="41"/>
                  </a:moveTo>
                  <a:cubicBezTo>
                    <a:pt x="313" y="22"/>
                    <a:pt x="302" y="43"/>
                    <a:pt x="302" y="43"/>
                  </a:cubicBezTo>
                  <a:moveTo>
                    <a:pt x="330" y="265"/>
                  </a:moveTo>
                  <a:cubicBezTo>
                    <a:pt x="316" y="244"/>
                    <a:pt x="302" y="265"/>
                    <a:pt x="302" y="265"/>
                  </a:cubicBezTo>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cs typeface="Segoe UI"/>
              </a:endParaRPr>
            </a:p>
          </p:txBody>
        </p:sp>
        <p:sp>
          <p:nvSpPr>
            <p:cNvPr id="15" name="magnify" title="Icon of a magnifying glass">
              <a:extLst>
                <a:ext uri="{FF2B5EF4-FFF2-40B4-BE49-F238E27FC236}">
                  <a16:creationId xmlns:a16="http://schemas.microsoft.com/office/drawing/2014/main" id="{D568D613-343F-4BED-9531-7FF4DB32A4E9}"/>
                </a:ext>
              </a:extLst>
            </p:cNvPr>
            <p:cNvSpPr>
              <a:spLocks noChangeAspect="1" noEditPoints="1"/>
            </p:cNvSpPr>
            <p:nvPr/>
          </p:nvSpPr>
          <p:spPr bwMode="auto">
            <a:xfrm flipH="1">
              <a:off x="-569058" y="2152650"/>
              <a:ext cx="298440" cy="29273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grpSp>
    </p:spTree>
    <p:extLst>
      <p:ext uri="{BB962C8B-B14F-4D97-AF65-F5344CB8AC3E}">
        <p14:creationId xmlns:p14="http://schemas.microsoft.com/office/powerpoint/2010/main" val="221788755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2">
            <a:extLst>
              <a:ext uri="{FF2B5EF4-FFF2-40B4-BE49-F238E27FC236}">
                <a16:creationId xmlns:a16="http://schemas.microsoft.com/office/drawing/2014/main" id="{3C0E3327-941E-4AEB-A08E-5C0AF12CADC7}"/>
              </a:ext>
            </a:extLst>
          </p:cNvPr>
          <p:cNvSpPr txBox="1">
            <a:spLocks/>
          </p:cNvSpPr>
          <p:nvPr/>
        </p:nvSpPr>
        <p:spPr>
          <a:xfrm>
            <a:off x="-1" y="3428999"/>
            <a:ext cx="7778749" cy="28400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182880" rIns="182880" bIns="182880" numCol="1" spcCol="0" rtlCol="0" fromWordArt="0" anchor="t" anchorCtr="0" forceAA="0" compatLnSpc="1">
            <a:prstTxWarp prst="textNoShape">
              <a:avLst/>
            </a:prstTxWarp>
            <a:noAutofit/>
          </a:bodyPr>
          <a:lstStyle>
            <a:defPPr>
              <a:defRPr lang="fr-fr"/>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rtl="0"/>
            <a:r>
              <a:rPr lang="fr-fr" sz="1800" b="0" i="0" u="none" baseline="0" dirty="0">
                <a:solidFill>
                  <a:srgbClr val="4B53BC"/>
                </a:solidFill>
                <a:cs typeface="Segoe UI"/>
              </a:rPr>
              <a:t>Usage de Microsoft Teams :</a:t>
            </a:r>
          </a:p>
          <a:p>
            <a:pPr algn="l" rtl="0">
              <a:spcBef>
                <a:spcPts val="600"/>
              </a:spcBef>
              <a:spcAft>
                <a:spcPts val="400"/>
              </a:spcAft>
            </a:pPr>
            <a:r>
              <a:rPr lang="fr-fr" sz="1600" b="0" i="1" u="none" baseline="0" dirty="0">
                <a:solidFill>
                  <a:schemeClr val="tx1"/>
                </a:solidFill>
                <a:cs typeface="Segoe UI"/>
              </a:rPr>
              <a:t>« Nous avons utilisé Power BI pour extraire des données de chaque groupe </a:t>
            </a:r>
            <a:br>
              <a:rPr lang="fr-fr" sz="1600" b="0" i="1" u="none" baseline="0" dirty="0"/>
            </a:br>
            <a:r>
              <a:rPr lang="fr-fr" sz="1600" b="0" i="1" u="none" baseline="0" dirty="0">
                <a:solidFill>
                  <a:schemeClr val="tx1"/>
                </a:solidFill>
                <a:cs typeface="Segoe UI"/>
              </a:rPr>
              <a:t>et les combiner en une seule vue. C</a:t>
            </a:r>
            <a:r>
              <a:rPr lang="fr-FR" sz="1600" b="0" i="1" u="none" baseline="0" dirty="0">
                <a:solidFill>
                  <a:schemeClr val="tx1"/>
                </a:solidFill>
                <a:cs typeface="Segoe UI"/>
              </a:rPr>
              <a:t>’</a:t>
            </a:r>
            <a:r>
              <a:rPr lang="fr-fr" sz="1600" b="0" i="1" u="none" baseline="0" dirty="0">
                <a:solidFill>
                  <a:schemeClr val="tx1"/>
                </a:solidFill>
                <a:cs typeface="Segoe UI"/>
              </a:rPr>
              <a:t>est beaucoup plus efficace que notre </a:t>
            </a:r>
            <a:br>
              <a:rPr lang="fr-fr" sz="1600" b="0" i="1" u="none" baseline="0" dirty="0"/>
            </a:br>
            <a:r>
              <a:rPr lang="fr-fr" sz="1600" b="0" i="1" u="none" baseline="0" dirty="0">
                <a:solidFill>
                  <a:schemeClr val="tx1"/>
                </a:solidFill>
                <a:cs typeface="Segoe UI"/>
              </a:rPr>
              <a:t>ancien processus…Quand nous aurons fini de créer des fonctions d</a:t>
            </a:r>
            <a:r>
              <a:rPr lang="fr-FR" sz="1600" b="0" i="1" u="none" baseline="0" dirty="0">
                <a:solidFill>
                  <a:schemeClr val="tx1"/>
                </a:solidFill>
                <a:cs typeface="Segoe UI"/>
              </a:rPr>
              <a:t>’</a:t>
            </a:r>
            <a:r>
              <a:rPr lang="fr-fr" sz="1600" b="0" i="1" u="none" baseline="0" dirty="0">
                <a:solidFill>
                  <a:schemeClr val="tx1"/>
                </a:solidFill>
                <a:cs typeface="Segoe UI"/>
              </a:rPr>
              <a:t>importation automatique pour transférer les données de Microsoft Excel dans un tableau </a:t>
            </a:r>
            <a:br>
              <a:rPr lang="fr-fr" sz="1600" b="0" i="1" u="none" baseline="0" dirty="0"/>
            </a:br>
            <a:r>
              <a:rPr lang="fr-fr" sz="1600" b="0" i="1" u="none" baseline="0" dirty="0">
                <a:solidFill>
                  <a:schemeClr val="tx1"/>
                </a:solidFill>
                <a:cs typeface="Segoe UI"/>
              </a:rPr>
              <a:t>de bord Power BI, le temps que nous passerons à préparer les rapports sera réduit d</a:t>
            </a:r>
            <a:r>
              <a:rPr lang="fr-FR" sz="1600" b="0" i="1" u="none" baseline="0" dirty="0">
                <a:solidFill>
                  <a:schemeClr val="tx1"/>
                </a:solidFill>
                <a:cs typeface="Segoe UI"/>
              </a:rPr>
              <a:t>’</a:t>
            </a:r>
            <a:r>
              <a:rPr lang="fr-fr" sz="1600" b="0" i="1" u="none" baseline="0" dirty="0">
                <a:solidFill>
                  <a:schemeClr val="tx1"/>
                </a:solidFill>
                <a:cs typeface="Segoe UI"/>
              </a:rPr>
              <a:t>environ 60 %, soit jusqu</a:t>
            </a:r>
            <a:r>
              <a:rPr lang="fr-FR" sz="1600" b="0" i="1" u="none" baseline="0" dirty="0">
                <a:solidFill>
                  <a:schemeClr val="tx1"/>
                </a:solidFill>
                <a:cs typeface="Segoe UI"/>
              </a:rPr>
              <a:t>’</a:t>
            </a:r>
            <a:r>
              <a:rPr lang="fr-fr" sz="1600" b="0" i="1" u="none" baseline="0" dirty="0">
                <a:solidFill>
                  <a:schemeClr val="tx1"/>
                </a:solidFill>
                <a:cs typeface="Segoe UI"/>
              </a:rPr>
              <a:t>à quatre ou cinq jours par mois. »</a:t>
            </a:r>
          </a:p>
          <a:p>
            <a:pPr algn="l" rtl="0">
              <a:spcBef>
                <a:spcPts val="400"/>
              </a:spcBef>
              <a:spcAft>
                <a:spcPts val="400"/>
              </a:spcAft>
            </a:pPr>
            <a:r>
              <a:rPr lang="fr-fr" sz="1600" b="0" i="1" u="none" baseline="0" dirty="0">
                <a:solidFill>
                  <a:srgbClr val="4B53BC"/>
                </a:solidFill>
                <a:latin typeface="+mj-lt"/>
                <a:cs typeface="Segoe UI"/>
              </a:rPr>
              <a:t>Sunil </a:t>
            </a:r>
            <a:r>
              <a:rPr lang="fr-fr" sz="1600" b="0" i="1" u="none" baseline="0" dirty="0" err="1">
                <a:solidFill>
                  <a:srgbClr val="4B53BC"/>
                </a:solidFill>
                <a:latin typeface="+mj-lt"/>
                <a:cs typeface="Segoe UI"/>
              </a:rPr>
              <a:t>Yadav</a:t>
            </a:r>
            <a:r>
              <a:rPr lang="fr-fr" sz="1600" b="0" i="1" u="none" baseline="0" dirty="0">
                <a:solidFill>
                  <a:srgbClr val="4B53BC"/>
                </a:solidFill>
                <a:latin typeface="+mj-lt"/>
                <a:cs typeface="Segoe UI"/>
              </a:rPr>
              <a:t>, </a:t>
            </a:r>
            <a:r>
              <a:rPr lang="fr-fr" sz="1600" b="0" i="1" u="none" baseline="0" dirty="0" err="1">
                <a:solidFill>
                  <a:srgbClr val="4B53BC"/>
                </a:solidFill>
                <a:latin typeface="+mj-lt"/>
                <a:cs typeface="Segoe UI"/>
              </a:rPr>
              <a:t>President</a:t>
            </a:r>
            <a:r>
              <a:rPr lang="fr-fr" sz="1600" b="0" i="1" u="none" baseline="0" dirty="0">
                <a:solidFill>
                  <a:srgbClr val="4B53BC"/>
                </a:solidFill>
                <a:latin typeface="+mj-lt"/>
                <a:cs typeface="Segoe UI"/>
              </a:rPr>
              <a:t>, </a:t>
            </a:r>
            <a:r>
              <a:rPr lang="fr-fr" sz="1600" b="0" i="1" u="none" baseline="0" dirty="0" err="1">
                <a:solidFill>
                  <a:srgbClr val="4B53BC"/>
                </a:solidFill>
                <a:latin typeface="+mj-lt"/>
                <a:cs typeface="Segoe UI"/>
              </a:rPr>
              <a:t>Amplifi</a:t>
            </a:r>
            <a:r>
              <a:rPr lang="fr-fr" sz="1600" b="0" i="1" u="none" baseline="0" dirty="0">
                <a:solidFill>
                  <a:srgbClr val="4B53BC"/>
                </a:solidFill>
                <a:latin typeface="+mj-lt"/>
                <a:cs typeface="Segoe UI"/>
              </a:rPr>
              <a:t> Asia Pacific</a:t>
            </a:r>
          </a:p>
          <a:p>
            <a:pPr algn="l" rtl="0">
              <a:spcBef>
                <a:spcPts val="0"/>
              </a:spcBef>
              <a:spcAft>
                <a:spcPts val="400"/>
              </a:spcAft>
            </a:pPr>
            <a:r>
              <a:rPr lang="fr-fr" sz="1600" b="0" i="1" u="none" baseline="0" dirty="0" err="1">
                <a:solidFill>
                  <a:srgbClr val="4B53BC"/>
                </a:solidFill>
                <a:latin typeface="+mj-lt"/>
                <a:cs typeface="Segoe UI"/>
              </a:rPr>
              <a:t>Dentsu</a:t>
            </a:r>
            <a:r>
              <a:rPr lang="fr-fr" sz="1600" b="0" i="1" u="none" baseline="0" dirty="0">
                <a:solidFill>
                  <a:srgbClr val="4B53BC"/>
                </a:solidFill>
                <a:latin typeface="+mj-lt"/>
                <a:cs typeface="Segoe UI"/>
              </a:rPr>
              <a:t> </a:t>
            </a:r>
            <a:r>
              <a:rPr lang="fr-fr" sz="1600" b="0" i="1" u="none" baseline="0" dirty="0" err="1">
                <a:solidFill>
                  <a:srgbClr val="4B53BC"/>
                </a:solidFill>
                <a:latin typeface="+mj-lt"/>
                <a:cs typeface="Segoe UI"/>
              </a:rPr>
              <a:t>Aegis</a:t>
            </a:r>
            <a:endParaRPr lang="fr-fr" sz="1600" b="0" i="1" u="none" baseline="0" dirty="0">
              <a:solidFill>
                <a:srgbClr val="4B53BC"/>
              </a:solidFill>
              <a:latin typeface="+mj-lt"/>
              <a:cs typeface="Segoe UI"/>
            </a:endParaRPr>
          </a:p>
        </p:txBody>
      </p:sp>
      <p:sp>
        <p:nvSpPr>
          <p:cNvPr id="4" name="Title 3">
            <a:extLst>
              <a:ext uri="{FF2B5EF4-FFF2-40B4-BE49-F238E27FC236}">
                <a16:creationId xmlns:a16="http://schemas.microsoft.com/office/drawing/2014/main" id="{9FEC5739-455C-4241-A7FB-12E01CC7F336}"/>
              </a:ext>
            </a:extLst>
          </p:cNvPr>
          <p:cNvSpPr>
            <a:spLocks noGrp="1"/>
          </p:cNvSpPr>
          <p:nvPr>
            <p:ph type="title"/>
          </p:nvPr>
        </p:nvSpPr>
        <p:spPr/>
        <p:txBody>
          <a:bodyPr/>
          <a:lstStyle/>
          <a:p>
            <a:pPr algn="l" rtl="0"/>
            <a:r>
              <a:rPr lang="fr-fr" b="0" i="0" u="none" baseline="0" dirty="0" err="1">
                <a:cs typeface="Segoe UI"/>
              </a:rPr>
              <a:t>Dentsu</a:t>
            </a:r>
            <a:r>
              <a:rPr lang="fr-fr" b="0" i="0" u="none" baseline="0" dirty="0">
                <a:cs typeface="Segoe UI"/>
              </a:rPr>
              <a:t> </a:t>
            </a:r>
            <a:r>
              <a:rPr lang="fr-fr" b="0" i="0" u="none" baseline="0" dirty="0" err="1">
                <a:cs typeface="Segoe UI"/>
              </a:rPr>
              <a:t>Aegis</a:t>
            </a:r>
            <a:r>
              <a:rPr lang="fr-fr" b="0" i="0" u="none" baseline="0" dirty="0">
                <a:cs typeface="Segoe UI"/>
              </a:rPr>
              <a:t> Network</a:t>
            </a:r>
            <a:endParaRPr lang="fr-fr" dirty="0">
              <a:cs typeface="Segoe UI"/>
            </a:endParaRPr>
          </a:p>
        </p:txBody>
      </p:sp>
      <p:sp>
        <p:nvSpPr>
          <p:cNvPr id="16" name="Rectangle 15">
            <a:extLst>
              <a:ext uri="{FF2B5EF4-FFF2-40B4-BE49-F238E27FC236}">
                <a16:creationId xmlns:a16="http://schemas.microsoft.com/office/drawing/2014/main" id="{7BFDB75B-7A16-456D-B38F-742F70A361C0}"/>
              </a:ext>
            </a:extLst>
          </p:cNvPr>
          <p:cNvSpPr/>
          <p:nvPr/>
        </p:nvSpPr>
        <p:spPr bwMode="auto">
          <a:xfrm>
            <a:off x="7778750" y="1168400"/>
            <a:ext cx="4413249" cy="510063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0" name="Arrow: Bent 19">
            <a:extLst>
              <a:ext uri="{FF2B5EF4-FFF2-40B4-BE49-F238E27FC236}">
                <a16:creationId xmlns:a16="http://schemas.microsoft.com/office/drawing/2014/main" id="{4CEC69FE-482F-4FD6-8714-66BE462FCE9D}"/>
              </a:ext>
            </a:extLst>
          </p:cNvPr>
          <p:cNvSpPr/>
          <p:nvPr/>
        </p:nvSpPr>
        <p:spPr bwMode="auto">
          <a:xfrm flipV="1">
            <a:off x="1527175" y="1871554"/>
            <a:ext cx="6179446" cy="1357421"/>
          </a:xfrm>
          <a:prstGeom prst="bentArrow">
            <a:avLst>
              <a:gd name="adj1" fmla="val 25000"/>
              <a:gd name="adj2" fmla="val 0"/>
              <a:gd name="adj3" fmla="val 25000"/>
              <a:gd name="adj4" fmla="val 5280"/>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DF1B6B8A-D58F-41E6-B516-919F097791A2}"/>
              </a:ext>
            </a:extLst>
          </p:cNvPr>
          <p:cNvSpPr/>
          <p:nvPr/>
        </p:nvSpPr>
        <p:spPr bwMode="auto">
          <a:xfrm>
            <a:off x="997889" y="1447293"/>
            <a:ext cx="6780860" cy="437043"/>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64008" rIns="91440" bIns="64008" numCol="1" spcCol="0" rtlCol="0" fromWordArt="0" anchor="ctr" anchorCtr="0" forceAA="0" compatLnSpc="1">
            <a:prstTxWarp prst="textNoShape">
              <a:avLst/>
            </a:prstTxWarp>
            <a:spAutoFit/>
          </a:bodyPr>
          <a:lstStyle/>
          <a:p>
            <a:pPr defTabSz="932472" fontAlgn="base">
              <a:spcBef>
                <a:spcPct val="0"/>
              </a:spcBef>
              <a:spcAft>
                <a:spcPct val="0"/>
              </a:spcAft>
            </a:pPr>
            <a:r>
              <a:rPr lang="fr-FR" sz="2000" dirty="0">
                <a:solidFill>
                  <a:srgbClr val="FFFFFF"/>
                </a:solidFill>
                <a:latin typeface="Segoe UI Semibold"/>
                <a:ea typeface="Segoe UI" pitchFamily="34" charset="0"/>
                <a:cs typeface="Segoe UI Semibold"/>
              </a:rPr>
              <a:t>CAS D’UTILISATION</a:t>
            </a:r>
            <a:endParaRPr lang="fr-fr" sz="2000" b="0" i="0" u="none" baseline="0" dirty="0">
              <a:solidFill>
                <a:srgbClr val="FFFFFF"/>
              </a:solidFill>
              <a:latin typeface="Segoe UI Semibold"/>
              <a:ea typeface="Segoe UI" pitchFamily="34" charset="0"/>
              <a:cs typeface="Segoe UI Semibold"/>
            </a:endParaRPr>
          </a:p>
        </p:txBody>
      </p:sp>
      <p:sp>
        <p:nvSpPr>
          <p:cNvPr id="22" name="Oval 21">
            <a:extLst>
              <a:ext uri="{FF2B5EF4-FFF2-40B4-BE49-F238E27FC236}">
                <a16:creationId xmlns:a16="http://schemas.microsoft.com/office/drawing/2014/main" id="{B0531225-C0C0-4F8C-B62E-142778C8EC45}"/>
              </a:ext>
            </a:extLst>
          </p:cNvPr>
          <p:cNvSpPr/>
          <p:nvPr/>
        </p:nvSpPr>
        <p:spPr bwMode="auto">
          <a:xfrm>
            <a:off x="588263" y="1331301"/>
            <a:ext cx="669026" cy="669026"/>
          </a:xfrm>
          <a:prstGeom prst="ellipse">
            <a:avLst/>
          </a:prstGeom>
          <a:solidFill>
            <a:schemeClr val="bg1"/>
          </a:solidFill>
          <a:ln w="6350">
            <a:solidFill>
              <a:srgbClr val="4B53B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3" name="Oval 22">
            <a:extLst>
              <a:ext uri="{FF2B5EF4-FFF2-40B4-BE49-F238E27FC236}">
                <a16:creationId xmlns:a16="http://schemas.microsoft.com/office/drawing/2014/main" id="{FE2258C7-583B-4322-93DE-B4D27E96A87B}"/>
              </a:ext>
            </a:extLst>
          </p:cNvPr>
          <p:cNvSpPr/>
          <p:nvPr/>
        </p:nvSpPr>
        <p:spPr bwMode="auto">
          <a:xfrm>
            <a:off x="623422" y="1366460"/>
            <a:ext cx="598708" cy="598708"/>
          </a:xfrm>
          <a:prstGeom prst="ellipse">
            <a:avLst/>
          </a:prstGeom>
          <a:solidFill>
            <a:schemeClr val="bg1"/>
          </a:solidFill>
          <a:ln w="3175">
            <a:solidFill>
              <a:schemeClr val="bg1">
                <a:lumMod val="9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4" name="Text Placeholder 11">
            <a:extLst>
              <a:ext uri="{FF2B5EF4-FFF2-40B4-BE49-F238E27FC236}">
                <a16:creationId xmlns:a16="http://schemas.microsoft.com/office/drawing/2014/main" id="{9E5E8932-92F5-4229-88D0-6C1886F03F5C}"/>
              </a:ext>
            </a:extLst>
          </p:cNvPr>
          <p:cNvSpPr txBox="1">
            <a:spLocks/>
          </p:cNvSpPr>
          <p:nvPr/>
        </p:nvSpPr>
        <p:spPr>
          <a:xfrm>
            <a:off x="1453016" y="1958311"/>
            <a:ext cx="5976484" cy="1138773"/>
          </a:xfrm>
          <a:prstGeom prst="rect">
            <a:avLst/>
          </a:prstGeom>
        </p:spPr>
        <p:txBody>
          <a:bodyPr vert="horz" wrap="square" lIns="0" tIns="0" rIns="0" bIns="0" rtlCol="0" anchor="t">
            <a:spAutoFit/>
          </a:bodyPr>
          <a:lst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23520" indent="-223520" algn="l" defTabSz="914400" rtl="0" fontAlgn="base">
              <a:lnSpc>
                <a:spcPct val="100000"/>
              </a:lnSpc>
              <a:spcBef>
                <a:spcPts val="1200"/>
              </a:spcBef>
              <a:buClr>
                <a:srgbClr val="4B53BC"/>
              </a:buClr>
              <a:buSzPct val="100000"/>
              <a:buBlip>
                <a:blip r:embed="rId3"/>
              </a:buBlip>
              <a:defRPr/>
            </a:pPr>
            <a:r>
              <a:rPr lang="fr-fr" sz="1800" b="0" i="0" u="none" baseline="0">
                <a:solidFill>
                  <a:schemeClr val="tx1"/>
                </a:solidFill>
                <a:latin typeface="+mn-lt"/>
                <a:cs typeface="Segoe UI"/>
              </a:rPr>
              <a:t>Des équipes virtuelles dans plusieurs régions</a:t>
            </a:r>
          </a:p>
          <a:p>
            <a:pPr marL="223520" indent="-223520" algn="l" defTabSz="914400" rtl="0" fontAlgn="base">
              <a:lnSpc>
                <a:spcPct val="100000"/>
              </a:lnSpc>
              <a:spcBef>
                <a:spcPts val="1200"/>
              </a:spcBef>
              <a:buClr>
                <a:srgbClr val="4B53BC"/>
              </a:buClr>
              <a:buSzPct val="100000"/>
              <a:buBlip>
                <a:blip r:embed="rId3"/>
              </a:buBlip>
              <a:defRPr/>
            </a:pPr>
            <a:r>
              <a:rPr lang="fr-fr" sz="1800" b="0" i="0" u="none" baseline="0">
                <a:solidFill>
                  <a:schemeClr val="tx1"/>
                </a:solidFill>
                <a:latin typeface="+mn-lt"/>
                <a:cs typeface="Segoe UI"/>
              </a:rPr>
              <a:t>Une adoption massive</a:t>
            </a:r>
          </a:p>
          <a:p>
            <a:pPr marL="223520" indent="-223520" algn="l" defTabSz="914400" rtl="0" fontAlgn="base">
              <a:lnSpc>
                <a:spcPct val="100000"/>
              </a:lnSpc>
              <a:spcBef>
                <a:spcPts val="1200"/>
              </a:spcBef>
              <a:buClr>
                <a:srgbClr val="4B53BC"/>
              </a:buClr>
              <a:buSzPct val="100000"/>
              <a:buBlip>
                <a:blip r:embed="rId3"/>
              </a:buBlip>
              <a:defRPr/>
            </a:pPr>
            <a:r>
              <a:rPr lang="fr-fr" sz="1800" b="0" i="0" u="none" baseline="0">
                <a:solidFill>
                  <a:schemeClr val="tx1"/>
                </a:solidFill>
                <a:latin typeface="+mn-lt"/>
                <a:cs typeface="Segoe UI"/>
              </a:rPr>
              <a:t>Une culture de travail ouverte</a:t>
            </a:r>
          </a:p>
        </p:txBody>
      </p:sp>
      <p:pic>
        <p:nvPicPr>
          <p:cNvPr id="27" name="Picture 26">
            <a:extLst>
              <a:ext uri="{FF2B5EF4-FFF2-40B4-BE49-F238E27FC236}">
                <a16:creationId xmlns:a16="http://schemas.microsoft.com/office/drawing/2014/main" id="{2CF84B06-1C34-4BB7-9F10-C90AB80BB34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29083" y="5399230"/>
            <a:ext cx="672763" cy="672763"/>
          </a:xfrm>
          <a:prstGeom prst="rect">
            <a:avLst/>
          </a:prstGeom>
        </p:spPr>
      </p:pic>
      <p:pic>
        <p:nvPicPr>
          <p:cNvPr id="29" name="Picture 28">
            <a:extLst>
              <a:ext uri="{FF2B5EF4-FFF2-40B4-BE49-F238E27FC236}">
                <a16:creationId xmlns:a16="http://schemas.microsoft.com/office/drawing/2014/main" id="{C1BB8DC8-B85D-492B-BE13-AF348873CBD3}"/>
              </a:ext>
            </a:extLst>
          </p:cNvPr>
          <p:cNvPicPr>
            <a:picLocks noChangeAspect="1"/>
          </p:cNvPicPr>
          <p:nvPr/>
        </p:nvPicPr>
        <p:blipFill rotWithShape="1">
          <a:blip r:embed="rId5"/>
          <a:stretch/>
        </p:blipFill>
        <p:spPr>
          <a:xfrm>
            <a:off x="7910286" y="1304338"/>
            <a:ext cx="4281714" cy="4828763"/>
          </a:xfrm>
          <a:prstGeom prst="rect">
            <a:avLst/>
          </a:prstGeom>
        </p:spPr>
      </p:pic>
      <p:grpSp>
        <p:nvGrpSpPr>
          <p:cNvPr id="13" name="Group 12">
            <a:extLst>
              <a:ext uri="{FF2B5EF4-FFF2-40B4-BE49-F238E27FC236}">
                <a16:creationId xmlns:a16="http://schemas.microsoft.com/office/drawing/2014/main" id="{05AA9EDE-73E0-466F-86BB-989DD793E1C6}"/>
              </a:ext>
            </a:extLst>
          </p:cNvPr>
          <p:cNvGrpSpPr/>
          <p:nvPr/>
        </p:nvGrpSpPr>
        <p:grpSpPr>
          <a:xfrm>
            <a:off x="747031" y="1496428"/>
            <a:ext cx="351491" cy="338773"/>
            <a:chOff x="-569058" y="2152650"/>
            <a:chExt cx="351491" cy="338773"/>
          </a:xfrm>
        </p:grpSpPr>
        <p:sp>
          <p:nvSpPr>
            <p:cNvPr id="14" name="Book_2" title="Icon of a book and a pencil">
              <a:extLst>
                <a:ext uri="{FF2B5EF4-FFF2-40B4-BE49-F238E27FC236}">
                  <a16:creationId xmlns:a16="http://schemas.microsoft.com/office/drawing/2014/main" id="{D5D72C32-E80B-405E-A940-64ECBE78DE49}"/>
                </a:ext>
              </a:extLst>
            </p:cNvPr>
            <p:cNvSpPr>
              <a:spLocks noChangeAspect="1" noEditPoints="1"/>
            </p:cNvSpPr>
            <p:nvPr/>
          </p:nvSpPr>
          <p:spPr bwMode="auto">
            <a:xfrm>
              <a:off x="-529389" y="2206785"/>
              <a:ext cx="311822" cy="284638"/>
            </a:xfrm>
            <a:custGeom>
              <a:avLst/>
              <a:gdLst>
                <a:gd name="T0" fmla="*/ 223 w 330"/>
                <a:gd name="T1" fmla="*/ 0 h 301"/>
                <a:gd name="T2" fmla="*/ 223 w 330"/>
                <a:gd name="T3" fmla="*/ 284 h 301"/>
                <a:gd name="T4" fmla="*/ 31 w 330"/>
                <a:gd name="T5" fmla="*/ 284 h 301"/>
                <a:gd name="T6" fmla="*/ 0 w 330"/>
                <a:gd name="T7" fmla="*/ 233 h 301"/>
                <a:gd name="T8" fmla="*/ 0 w 330"/>
                <a:gd name="T9" fmla="*/ 31 h 301"/>
                <a:gd name="T10" fmla="*/ 43 w 330"/>
                <a:gd name="T11" fmla="*/ 0 h 301"/>
                <a:gd name="T12" fmla="*/ 223 w 330"/>
                <a:gd name="T13" fmla="*/ 0 h 301"/>
                <a:gd name="T14" fmla="*/ 223 w 330"/>
                <a:gd name="T15" fmla="*/ 228 h 301"/>
                <a:gd name="T16" fmla="*/ 48 w 330"/>
                <a:gd name="T17" fmla="*/ 227 h 301"/>
                <a:gd name="T18" fmla="*/ 2 w 330"/>
                <a:gd name="T19" fmla="*/ 252 h 301"/>
                <a:gd name="T20" fmla="*/ 316 w 330"/>
                <a:gd name="T21" fmla="*/ 301 h 301"/>
                <a:gd name="T22" fmla="*/ 316 w 330"/>
                <a:gd name="T23" fmla="*/ 301 h 301"/>
                <a:gd name="T24" fmla="*/ 330 w 330"/>
                <a:gd name="T25" fmla="*/ 278 h 301"/>
                <a:gd name="T26" fmla="*/ 330 w 330"/>
                <a:gd name="T27" fmla="*/ 19 h 301"/>
                <a:gd name="T28" fmla="*/ 316 w 330"/>
                <a:gd name="T29" fmla="*/ 0 h 301"/>
                <a:gd name="T30" fmla="*/ 302 w 330"/>
                <a:gd name="T31" fmla="*/ 19 h 301"/>
                <a:gd name="T32" fmla="*/ 302 w 330"/>
                <a:gd name="T33" fmla="*/ 278 h 301"/>
                <a:gd name="T34" fmla="*/ 316 w 330"/>
                <a:gd name="T35" fmla="*/ 301 h 301"/>
                <a:gd name="T36" fmla="*/ 330 w 330"/>
                <a:gd name="T37" fmla="*/ 41 h 301"/>
                <a:gd name="T38" fmla="*/ 302 w 330"/>
                <a:gd name="T39" fmla="*/ 43 h 301"/>
                <a:gd name="T40" fmla="*/ 330 w 330"/>
                <a:gd name="T41" fmla="*/ 265 h 301"/>
                <a:gd name="T42" fmla="*/ 302 w 330"/>
                <a:gd name="T43" fmla="*/ 26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0" h="301">
                  <a:moveTo>
                    <a:pt x="223" y="0"/>
                  </a:moveTo>
                  <a:cubicBezTo>
                    <a:pt x="223" y="284"/>
                    <a:pt x="223" y="284"/>
                    <a:pt x="223" y="284"/>
                  </a:cubicBezTo>
                  <a:cubicBezTo>
                    <a:pt x="31" y="284"/>
                    <a:pt x="31" y="284"/>
                    <a:pt x="31" y="284"/>
                  </a:cubicBezTo>
                  <a:cubicBezTo>
                    <a:pt x="31" y="284"/>
                    <a:pt x="0" y="287"/>
                    <a:pt x="0" y="233"/>
                  </a:cubicBezTo>
                  <a:cubicBezTo>
                    <a:pt x="0" y="193"/>
                    <a:pt x="0" y="31"/>
                    <a:pt x="0" y="31"/>
                  </a:cubicBezTo>
                  <a:cubicBezTo>
                    <a:pt x="0" y="31"/>
                    <a:pt x="2" y="0"/>
                    <a:pt x="43" y="0"/>
                  </a:cubicBezTo>
                  <a:cubicBezTo>
                    <a:pt x="80" y="0"/>
                    <a:pt x="223" y="0"/>
                    <a:pt x="223" y="0"/>
                  </a:cubicBezTo>
                  <a:close/>
                  <a:moveTo>
                    <a:pt x="223" y="228"/>
                  </a:moveTo>
                  <a:cubicBezTo>
                    <a:pt x="41" y="228"/>
                    <a:pt x="48" y="227"/>
                    <a:pt x="48" y="227"/>
                  </a:cubicBezTo>
                  <a:cubicBezTo>
                    <a:pt x="48" y="227"/>
                    <a:pt x="6" y="223"/>
                    <a:pt x="2" y="252"/>
                  </a:cubicBezTo>
                  <a:moveTo>
                    <a:pt x="316" y="301"/>
                  </a:moveTo>
                  <a:cubicBezTo>
                    <a:pt x="316" y="301"/>
                    <a:pt x="316" y="301"/>
                    <a:pt x="316" y="301"/>
                  </a:cubicBezTo>
                  <a:cubicBezTo>
                    <a:pt x="330" y="278"/>
                    <a:pt x="330" y="278"/>
                    <a:pt x="330" y="278"/>
                  </a:cubicBezTo>
                  <a:cubicBezTo>
                    <a:pt x="330" y="278"/>
                    <a:pt x="330" y="278"/>
                    <a:pt x="330" y="19"/>
                  </a:cubicBezTo>
                  <a:cubicBezTo>
                    <a:pt x="330" y="19"/>
                    <a:pt x="329" y="0"/>
                    <a:pt x="316" y="0"/>
                  </a:cubicBezTo>
                  <a:cubicBezTo>
                    <a:pt x="303" y="0"/>
                    <a:pt x="302" y="19"/>
                    <a:pt x="302" y="19"/>
                  </a:cubicBezTo>
                  <a:cubicBezTo>
                    <a:pt x="302" y="19"/>
                    <a:pt x="302" y="19"/>
                    <a:pt x="302" y="278"/>
                  </a:cubicBezTo>
                  <a:cubicBezTo>
                    <a:pt x="302" y="278"/>
                    <a:pt x="302" y="278"/>
                    <a:pt x="316" y="301"/>
                  </a:cubicBezTo>
                  <a:close/>
                  <a:moveTo>
                    <a:pt x="330" y="41"/>
                  </a:moveTo>
                  <a:cubicBezTo>
                    <a:pt x="313" y="22"/>
                    <a:pt x="302" y="43"/>
                    <a:pt x="302" y="43"/>
                  </a:cubicBezTo>
                  <a:moveTo>
                    <a:pt x="330" y="265"/>
                  </a:moveTo>
                  <a:cubicBezTo>
                    <a:pt x="316" y="244"/>
                    <a:pt x="302" y="265"/>
                    <a:pt x="302" y="265"/>
                  </a:cubicBezTo>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cs typeface="Segoe UI"/>
              </a:endParaRPr>
            </a:p>
          </p:txBody>
        </p:sp>
        <p:sp>
          <p:nvSpPr>
            <p:cNvPr id="15" name="magnify" title="Icon of a magnifying glass">
              <a:extLst>
                <a:ext uri="{FF2B5EF4-FFF2-40B4-BE49-F238E27FC236}">
                  <a16:creationId xmlns:a16="http://schemas.microsoft.com/office/drawing/2014/main" id="{592DBA46-FCB7-4B85-B710-1A926954A720}"/>
                </a:ext>
              </a:extLst>
            </p:cNvPr>
            <p:cNvSpPr>
              <a:spLocks noChangeAspect="1" noEditPoints="1"/>
            </p:cNvSpPr>
            <p:nvPr/>
          </p:nvSpPr>
          <p:spPr bwMode="auto">
            <a:xfrm flipH="1">
              <a:off x="-569058" y="2152650"/>
              <a:ext cx="298440" cy="29273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grpSp>
    </p:spTree>
    <p:extLst>
      <p:ext uri="{BB962C8B-B14F-4D97-AF65-F5344CB8AC3E}">
        <p14:creationId xmlns:p14="http://schemas.microsoft.com/office/powerpoint/2010/main" val="308628199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
            <a:extLst>
              <a:ext uri="{FF2B5EF4-FFF2-40B4-BE49-F238E27FC236}">
                <a16:creationId xmlns:a16="http://schemas.microsoft.com/office/drawing/2014/main" id="{A9C48E5F-7A1A-4FB5-804A-7A9B4348D5C7}"/>
              </a:ext>
            </a:extLst>
          </p:cNvPr>
          <p:cNvSpPr txBox="1">
            <a:spLocks/>
          </p:cNvSpPr>
          <p:nvPr/>
        </p:nvSpPr>
        <p:spPr>
          <a:xfrm>
            <a:off x="-1" y="3428999"/>
            <a:ext cx="7778749" cy="28400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182880" rIns="182880" bIns="182880" numCol="1" spcCol="0" rtlCol="0" fromWordArt="0" anchor="t" anchorCtr="0" forceAA="0" compatLnSpc="1">
            <a:prstTxWarp prst="textNoShape">
              <a:avLst/>
            </a:prstTxWarp>
            <a:noAutofit/>
          </a:bodyPr>
          <a:lstStyle>
            <a:defPPr>
              <a:defRPr lang="fr-fr"/>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rtl="0"/>
            <a:r>
              <a:rPr lang="fr-fr" sz="1800" b="0" i="0" u="none" baseline="0" dirty="0">
                <a:solidFill>
                  <a:srgbClr val="4B53BC"/>
                </a:solidFill>
                <a:cs typeface="Segoe UI"/>
              </a:rPr>
              <a:t>Usage de Microsoft Teams :</a:t>
            </a:r>
          </a:p>
          <a:p>
            <a:pPr algn="l" rtl="0">
              <a:spcBef>
                <a:spcPts val="600"/>
              </a:spcBef>
              <a:spcAft>
                <a:spcPts val="400"/>
              </a:spcAft>
            </a:pPr>
            <a:r>
              <a:rPr lang="fr-fr" sz="1600" b="0" i="1" u="none" baseline="0" dirty="0">
                <a:solidFill>
                  <a:schemeClr val="tx1"/>
                </a:solidFill>
                <a:cs typeface="Segoe UI"/>
              </a:rPr>
              <a:t>« Le gain de productivité est le véritable avantage de Microsoft Teams, car vous n</a:t>
            </a:r>
            <a:r>
              <a:rPr lang="fr-FR" sz="1600" b="0" i="1" u="none" baseline="0" dirty="0">
                <a:solidFill>
                  <a:schemeClr val="tx1"/>
                </a:solidFill>
                <a:cs typeface="Segoe UI"/>
              </a:rPr>
              <a:t>’</a:t>
            </a:r>
            <a:r>
              <a:rPr lang="fr-fr" sz="1600" b="0" i="1" u="none" baseline="0" dirty="0">
                <a:solidFill>
                  <a:schemeClr val="tx1"/>
                </a:solidFill>
                <a:cs typeface="Segoe UI"/>
              </a:rPr>
              <a:t>avez pas à constamment passer d</a:t>
            </a:r>
            <a:r>
              <a:rPr lang="fr-FR" sz="1600" b="0" i="1" u="none" baseline="0" dirty="0">
                <a:solidFill>
                  <a:schemeClr val="tx1"/>
                </a:solidFill>
                <a:cs typeface="Segoe UI"/>
              </a:rPr>
              <a:t>’</a:t>
            </a:r>
            <a:r>
              <a:rPr lang="fr-fr" sz="1600" b="0" i="1" u="none" baseline="0" dirty="0">
                <a:solidFill>
                  <a:schemeClr val="tx1"/>
                </a:solidFill>
                <a:cs typeface="Segoe UI"/>
              </a:rPr>
              <a:t>une application de productivité à une autre. Avec Microsoft Teams, c</a:t>
            </a:r>
            <a:r>
              <a:rPr lang="fr-FR" sz="1600" b="0" i="1" u="none" baseline="0" dirty="0">
                <a:solidFill>
                  <a:schemeClr val="tx1"/>
                </a:solidFill>
                <a:cs typeface="Segoe UI"/>
              </a:rPr>
              <a:t>’</a:t>
            </a:r>
            <a:r>
              <a:rPr lang="fr-fr" sz="1600" b="0" i="1" u="none" baseline="0" dirty="0">
                <a:solidFill>
                  <a:schemeClr val="tx1"/>
                </a:solidFill>
                <a:cs typeface="Segoe UI"/>
              </a:rPr>
              <a:t>est le contexte qui détermine le service d</a:t>
            </a:r>
            <a:r>
              <a:rPr lang="fr-FR" sz="1600" b="0" i="1" u="none" baseline="0" dirty="0">
                <a:solidFill>
                  <a:schemeClr val="tx1"/>
                </a:solidFill>
                <a:cs typeface="Segoe UI"/>
              </a:rPr>
              <a:t>’</a:t>
            </a:r>
            <a:r>
              <a:rPr lang="fr-fr" sz="1600" b="0" i="1" u="none" baseline="0" dirty="0">
                <a:solidFill>
                  <a:schemeClr val="tx1"/>
                </a:solidFill>
                <a:cs typeface="Segoe UI"/>
              </a:rPr>
              <a:t>Office 365 à utiliser : Skype for Business Online pour démarrer une réunion, OneNote pour organiser les procès-verbaux et SharePoint Online ou Microsoft OneDrive for Business pour enregistrer votre document. »</a:t>
            </a:r>
          </a:p>
          <a:p>
            <a:pPr algn="l" rtl="0">
              <a:spcBef>
                <a:spcPts val="400"/>
              </a:spcBef>
              <a:spcAft>
                <a:spcPts val="400"/>
              </a:spcAft>
            </a:pPr>
            <a:r>
              <a:rPr lang="fr-fr" sz="1600" b="0" i="1" u="none" baseline="0" dirty="0">
                <a:solidFill>
                  <a:srgbClr val="4B53BC"/>
                </a:solidFill>
                <a:latin typeface="+mj-lt"/>
                <a:cs typeface="Segoe UI"/>
              </a:rPr>
              <a:t>Gary Walker, Head of People Digital Tools</a:t>
            </a:r>
          </a:p>
          <a:p>
            <a:pPr algn="l" rtl="0">
              <a:spcBef>
                <a:spcPts val="0"/>
              </a:spcBef>
              <a:spcAft>
                <a:spcPts val="400"/>
              </a:spcAft>
            </a:pPr>
            <a:r>
              <a:rPr lang="fr-fr" sz="1600" b="0" i="1" u="none" baseline="0" dirty="0" err="1">
                <a:solidFill>
                  <a:srgbClr val="4B53BC"/>
                </a:solidFill>
                <a:latin typeface="+mj-lt"/>
                <a:cs typeface="Segoe UI"/>
              </a:rPr>
              <a:t>Three</a:t>
            </a:r>
            <a:endParaRPr lang="fr-fr" sz="1600" b="0" i="1" u="none" baseline="0" dirty="0">
              <a:solidFill>
                <a:srgbClr val="4B53BC"/>
              </a:solidFill>
              <a:latin typeface="+mj-lt"/>
              <a:cs typeface="Segoe UI"/>
            </a:endParaRPr>
          </a:p>
        </p:txBody>
      </p:sp>
      <p:sp>
        <p:nvSpPr>
          <p:cNvPr id="5" name="Title 4">
            <a:extLst>
              <a:ext uri="{FF2B5EF4-FFF2-40B4-BE49-F238E27FC236}">
                <a16:creationId xmlns:a16="http://schemas.microsoft.com/office/drawing/2014/main" id="{00501C87-C616-4408-B5A1-B6CD4FFEB4E0}"/>
              </a:ext>
            </a:extLst>
          </p:cNvPr>
          <p:cNvSpPr>
            <a:spLocks noGrp="1"/>
          </p:cNvSpPr>
          <p:nvPr>
            <p:ph type="title"/>
          </p:nvPr>
        </p:nvSpPr>
        <p:spPr/>
        <p:txBody>
          <a:bodyPr/>
          <a:lstStyle/>
          <a:p>
            <a:pPr algn="l" rtl="0"/>
            <a:r>
              <a:rPr lang="fr-fr" b="0" i="0" u="none" baseline="0" dirty="0" err="1">
                <a:cs typeface="Segoe UI"/>
              </a:rPr>
              <a:t>Three</a:t>
            </a:r>
            <a:endParaRPr lang="fr-fr" dirty="0" err="1">
              <a:cs typeface="Segoe UI"/>
            </a:endParaRPr>
          </a:p>
        </p:txBody>
      </p:sp>
      <p:sp>
        <p:nvSpPr>
          <p:cNvPr id="15" name="Rectangle 14">
            <a:extLst>
              <a:ext uri="{FF2B5EF4-FFF2-40B4-BE49-F238E27FC236}">
                <a16:creationId xmlns:a16="http://schemas.microsoft.com/office/drawing/2014/main" id="{E984CA53-C118-4EF3-8B90-591D5D6F8413}"/>
              </a:ext>
            </a:extLst>
          </p:cNvPr>
          <p:cNvSpPr/>
          <p:nvPr/>
        </p:nvSpPr>
        <p:spPr bwMode="auto">
          <a:xfrm>
            <a:off x="7778750" y="1168400"/>
            <a:ext cx="4413249" cy="510063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6" name="Arrow: Bent 15">
            <a:extLst>
              <a:ext uri="{FF2B5EF4-FFF2-40B4-BE49-F238E27FC236}">
                <a16:creationId xmlns:a16="http://schemas.microsoft.com/office/drawing/2014/main" id="{9C8CF894-C410-4D89-A830-86786B43A8CE}"/>
              </a:ext>
            </a:extLst>
          </p:cNvPr>
          <p:cNvSpPr/>
          <p:nvPr/>
        </p:nvSpPr>
        <p:spPr bwMode="auto">
          <a:xfrm flipV="1">
            <a:off x="1527175" y="1871554"/>
            <a:ext cx="6179446" cy="1357421"/>
          </a:xfrm>
          <a:prstGeom prst="bentArrow">
            <a:avLst>
              <a:gd name="adj1" fmla="val 25000"/>
              <a:gd name="adj2" fmla="val 0"/>
              <a:gd name="adj3" fmla="val 25000"/>
              <a:gd name="adj4" fmla="val 5280"/>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FCE0038A-940B-43D6-9E40-FC3D219BC293}"/>
              </a:ext>
            </a:extLst>
          </p:cNvPr>
          <p:cNvSpPr/>
          <p:nvPr/>
        </p:nvSpPr>
        <p:spPr bwMode="auto">
          <a:xfrm>
            <a:off x="997889" y="1447293"/>
            <a:ext cx="6780860" cy="437043"/>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64008" rIns="91440" bIns="64008" numCol="1" spcCol="0" rtlCol="0" fromWordArt="0" anchor="ctr" anchorCtr="0" forceAA="0" compatLnSpc="1">
            <a:prstTxWarp prst="textNoShape">
              <a:avLst/>
            </a:prstTxWarp>
            <a:spAutoFit/>
          </a:bodyPr>
          <a:lstStyle/>
          <a:p>
            <a:pPr defTabSz="932472" fontAlgn="base">
              <a:spcBef>
                <a:spcPct val="0"/>
              </a:spcBef>
              <a:spcAft>
                <a:spcPct val="0"/>
              </a:spcAft>
            </a:pPr>
            <a:r>
              <a:rPr lang="fr-FR" sz="2000" dirty="0">
                <a:solidFill>
                  <a:srgbClr val="FFFFFF"/>
                </a:solidFill>
                <a:latin typeface="Segoe UI Semibold"/>
                <a:ea typeface="Segoe UI" pitchFamily="34" charset="0"/>
                <a:cs typeface="Segoe UI Semibold"/>
              </a:rPr>
              <a:t>CAS D’UTILISATION</a:t>
            </a:r>
            <a:endParaRPr lang="fr-fr" sz="2000" b="0" i="0" u="none" baseline="0" dirty="0">
              <a:solidFill>
                <a:srgbClr val="FFFFFF"/>
              </a:solidFill>
              <a:latin typeface="Segoe UI Semibold"/>
              <a:ea typeface="Segoe UI" pitchFamily="34" charset="0"/>
              <a:cs typeface="Segoe UI Semibold"/>
            </a:endParaRPr>
          </a:p>
        </p:txBody>
      </p:sp>
      <p:sp>
        <p:nvSpPr>
          <p:cNvPr id="20" name="Oval 19">
            <a:extLst>
              <a:ext uri="{FF2B5EF4-FFF2-40B4-BE49-F238E27FC236}">
                <a16:creationId xmlns:a16="http://schemas.microsoft.com/office/drawing/2014/main" id="{9BB0F357-0695-43EB-94C6-D703C9EFDF84}"/>
              </a:ext>
            </a:extLst>
          </p:cNvPr>
          <p:cNvSpPr/>
          <p:nvPr/>
        </p:nvSpPr>
        <p:spPr bwMode="auto">
          <a:xfrm>
            <a:off x="588263" y="1331301"/>
            <a:ext cx="669026" cy="669026"/>
          </a:xfrm>
          <a:prstGeom prst="ellipse">
            <a:avLst/>
          </a:prstGeom>
          <a:solidFill>
            <a:schemeClr val="bg1"/>
          </a:solidFill>
          <a:ln w="6350">
            <a:solidFill>
              <a:srgbClr val="4B53B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1" name="Oval 20">
            <a:extLst>
              <a:ext uri="{FF2B5EF4-FFF2-40B4-BE49-F238E27FC236}">
                <a16:creationId xmlns:a16="http://schemas.microsoft.com/office/drawing/2014/main" id="{A51CF6A8-0531-4D20-A129-BC0F552FEFE7}"/>
              </a:ext>
            </a:extLst>
          </p:cNvPr>
          <p:cNvSpPr/>
          <p:nvPr/>
        </p:nvSpPr>
        <p:spPr bwMode="auto">
          <a:xfrm>
            <a:off x="623422" y="1366460"/>
            <a:ext cx="598708" cy="598708"/>
          </a:xfrm>
          <a:prstGeom prst="ellipse">
            <a:avLst/>
          </a:prstGeom>
          <a:solidFill>
            <a:schemeClr val="bg1"/>
          </a:solidFill>
          <a:ln w="3175">
            <a:solidFill>
              <a:schemeClr val="bg1">
                <a:lumMod val="9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2" name="Text Placeholder 11">
            <a:extLst>
              <a:ext uri="{FF2B5EF4-FFF2-40B4-BE49-F238E27FC236}">
                <a16:creationId xmlns:a16="http://schemas.microsoft.com/office/drawing/2014/main" id="{D5570CA0-D030-438A-B63F-7FCF9CB9A757}"/>
              </a:ext>
            </a:extLst>
          </p:cNvPr>
          <p:cNvSpPr txBox="1">
            <a:spLocks/>
          </p:cNvSpPr>
          <p:nvPr/>
        </p:nvSpPr>
        <p:spPr>
          <a:xfrm>
            <a:off x="1453016" y="1958311"/>
            <a:ext cx="5976484" cy="1138773"/>
          </a:xfrm>
          <a:prstGeom prst="rect">
            <a:avLst/>
          </a:prstGeom>
        </p:spPr>
        <p:txBody>
          <a:bodyPr vert="horz" wrap="square" lIns="0" tIns="0" rIns="0" bIns="0" rtlCol="0" anchor="t">
            <a:spAutoFit/>
          </a:bodyPr>
          <a:lst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23520" indent="-223520" algn="l" defTabSz="914400" rtl="0" fontAlgn="base">
              <a:lnSpc>
                <a:spcPct val="100000"/>
              </a:lnSpc>
              <a:spcBef>
                <a:spcPts val="1200"/>
              </a:spcBef>
              <a:buClr>
                <a:srgbClr val="4B53BC"/>
              </a:buClr>
              <a:buSzPct val="100000"/>
              <a:buBlip>
                <a:blip r:embed="rId3"/>
              </a:buBlip>
              <a:defRPr/>
            </a:pPr>
            <a:r>
              <a:rPr lang="fr-fr" sz="1800" b="0" i="0" u="none" baseline="0">
                <a:solidFill>
                  <a:schemeClr val="tx1"/>
                </a:solidFill>
                <a:latin typeface="+mn-lt"/>
                <a:cs typeface="Segoe UI"/>
              </a:rPr>
              <a:t>Des équipes internationales</a:t>
            </a:r>
          </a:p>
          <a:p>
            <a:pPr marL="223520" indent="-223520" algn="l" defTabSz="914400" rtl="0" fontAlgn="base">
              <a:lnSpc>
                <a:spcPct val="100000"/>
              </a:lnSpc>
              <a:spcBef>
                <a:spcPts val="1200"/>
              </a:spcBef>
              <a:buClr>
                <a:srgbClr val="4B53BC"/>
              </a:buClr>
              <a:buSzPct val="100000"/>
              <a:buBlip>
                <a:blip r:embed="rId3"/>
              </a:buBlip>
              <a:defRPr/>
            </a:pPr>
            <a:r>
              <a:rPr lang="fr-fr" sz="1800" b="0" i="0" u="none" baseline="0">
                <a:solidFill>
                  <a:schemeClr val="tx1"/>
                </a:solidFill>
                <a:latin typeface="+mn-lt"/>
                <a:cs typeface="Segoe UI"/>
              </a:rPr>
              <a:t>Un espace de travail centralisé</a:t>
            </a:r>
          </a:p>
          <a:p>
            <a:pPr marL="223520" indent="-223520" algn="l" defTabSz="914400" rtl="0" fontAlgn="base">
              <a:lnSpc>
                <a:spcPct val="100000"/>
              </a:lnSpc>
              <a:spcBef>
                <a:spcPts val="1200"/>
              </a:spcBef>
              <a:buClr>
                <a:srgbClr val="4B53BC"/>
              </a:buClr>
              <a:buSzPct val="100000"/>
              <a:buBlip>
                <a:blip r:embed="rId3"/>
              </a:buBlip>
              <a:defRPr/>
            </a:pPr>
            <a:r>
              <a:rPr lang="fr-fr" sz="1800" b="0" i="0" u="none" baseline="0">
                <a:solidFill>
                  <a:schemeClr val="tx1"/>
                </a:solidFill>
                <a:latin typeface="+mn-lt"/>
                <a:cs typeface="Segoe UI"/>
              </a:rPr>
              <a:t>Une adoption naturelle</a:t>
            </a:r>
          </a:p>
        </p:txBody>
      </p:sp>
      <p:pic>
        <p:nvPicPr>
          <p:cNvPr id="26" name="Picture 25">
            <a:extLst>
              <a:ext uri="{FF2B5EF4-FFF2-40B4-BE49-F238E27FC236}">
                <a16:creationId xmlns:a16="http://schemas.microsoft.com/office/drawing/2014/main" id="{03BDB2A6-EBD3-41BC-A73B-2F4F8A68E62C}"/>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89608" y="5326920"/>
            <a:ext cx="512238" cy="745073"/>
          </a:xfrm>
          <a:prstGeom prst="rect">
            <a:avLst/>
          </a:prstGeom>
        </p:spPr>
      </p:pic>
      <p:pic>
        <p:nvPicPr>
          <p:cNvPr id="28" name="Picture 27">
            <a:extLst>
              <a:ext uri="{FF2B5EF4-FFF2-40B4-BE49-F238E27FC236}">
                <a16:creationId xmlns:a16="http://schemas.microsoft.com/office/drawing/2014/main" id="{53488C89-C009-4E1A-88E0-BB7A437296AF}"/>
              </a:ext>
            </a:extLst>
          </p:cNvPr>
          <p:cNvPicPr>
            <a:picLocks noChangeAspect="1"/>
          </p:cNvPicPr>
          <p:nvPr/>
        </p:nvPicPr>
        <p:blipFill rotWithShape="1">
          <a:blip r:embed="rId5"/>
          <a:stretch/>
        </p:blipFill>
        <p:spPr>
          <a:xfrm>
            <a:off x="7910286" y="1304338"/>
            <a:ext cx="4281714" cy="4828763"/>
          </a:xfrm>
          <a:prstGeom prst="rect">
            <a:avLst/>
          </a:prstGeom>
        </p:spPr>
      </p:pic>
      <p:grpSp>
        <p:nvGrpSpPr>
          <p:cNvPr id="13" name="Group 12">
            <a:extLst>
              <a:ext uri="{FF2B5EF4-FFF2-40B4-BE49-F238E27FC236}">
                <a16:creationId xmlns:a16="http://schemas.microsoft.com/office/drawing/2014/main" id="{6D139E24-8868-4EB3-BF54-59D144ED75EF}"/>
              </a:ext>
            </a:extLst>
          </p:cNvPr>
          <p:cNvGrpSpPr/>
          <p:nvPr/>
        </p:nvGrpSpPr>
        <p:grpSpPr>
          <a:xfrm>
            <a:off x="747031" y="1496428"/>
            <a:ext cx="351491" cy="338773"/>
            <a:chOff x="-569058" y="2152650"/>
            <a:chExt cx="351491" cy="338773"/>
          </a:xfrm>
        </p:grpSpPr>
        <p:sp>
          <p:nvSpPr>
            <p:cNvPr id="14" name="Book_2" title="Icon of a book and a pencil">
              <a:extLst>
                <a:ext uri="{FF2B5EF4-FFF2-40B4-BE49-F238E27FC236}">
                  <a16:creationId xmlns:a16="http://schemas.microsoft.com/office/drawing/2014/main" id="{F7580F69-A20B-467C-B94C-8274CA4EC9E1}"/>
                </a:ext>
              </a:extLst>
            </p:cNvPr>
            <p:cNvSpPr>
              <a:spLocks noChangeAspect="1" noEditPoints="1"/>
            </p:cNvSpPr>
            <p:nvPr/>
          </p:nvSpPr>
          <p:spPr bwMode="auto">
            <a:xfrm>
              <a:off x="-529389" y="2206785"/>
              <a:ext cx="311822" cy="284638"/>
            </a:xfrm>
            <a:custGeom>
              <a:avLst/>
              <a:gdLst>
                <a:gd name="T0" fmla="*/ 223 w 330"/>
                <a:gd name="T1" fmla="*/ 0 h 301"/>
                <a:gd name="T2" fmla="*/ 223 w 330"/>
                <a:gd name="T3" fmla="*/ 284 h 301"/>
                <a:gd name="T4" fmla="*/ 31 w 330"/>
                <a:gd name="T5" fmla="*/ 284 h 301"/>
                <a:gd name="T6" fmla="*/ 0 w 330"/>
                <a:gd name="T7" fmla="*/ 233 h 301"/>
                <a:gd name="T8" fmla="*/ 0 w 330"/>
                <a:gd name="T9" fmla="*/ 31 h 301"/>
                <a:gd name="T10" fmla="*/ 43 w 330"/>
                <a:gd name="T11" fmla="*/ 0 h 301"/>
                <a:gd name="T12" fmla="*/ 223 w 330"/>
                <a:gd name="T13" fmla="*/ 0 h 301"/>
                <a:gd name="T14" fmla="*/ 223 w 330"/>
                <a:gd name="T15" fmla="*/ 228 h 301"/>
                <a:gd name="T16" fmla="*/ 48 w 330"/>
                <a:gd name="T17" fmla="*/ 227 h 301"/>
                <a:gd name="T18" fmla="*/ 2 w 330"/>
                <a:gd name="T19" fmla="*/ 252 h 301"/>
                <a:gd name="T20" fmla="*/ 316 w 330"/>
                <a:gd name="T21" fmla="*/ 301 h 301"/>
                <a:gd name="T22" fmla="*/ 316 w 330"/>
                <a:gd name="T23" fmla="*/ 301 h 301"/>
                <a:gd name="T24" fmla="*/ 330 w 330"/>
                <a:gd name="T25" fmla="*/ 278 h 301"/>
                <a:gd name="T26" fmla="*/ 330 w 330"/>
                <a:gd name="T27" fmla="*/ 19 h 301"/>
                <a:gd name="T28" fmla="*/ 316 w 330"/>
                <a:gd name="T29" fmla="*/ 0 h 301"/>
                <a:gd name="T30" fmla="*/ 302 w 330"/>
                <a:gd name="T31" fmla="*/ 19 h 301"/>
                <a:gd name="T32" fmla="*/ 302 w 330"/>
                <a:gd name="T33" fmla="*/ 278 h 301"/>
                <a:gd name="T34" fmla="*/ 316 w 330"/>
                <a:gd name="T35" fmla="*/ 301 h 301"/>
                <a:gd name="T36" fmla="*/ 330 w 330"/>
                <a:gd name="T37" fmla="*/ 41 h 301"/>
                <a:gd name="T38" fmla="*/ 302 w 330"/>
                <a:gd name="T39" fmla="*/ 43 h 301"/>
                <a:gd name="T40" fmla="*/ 330 w 330"/>
                <a:gd name="T41" fmla="*/ 265 h 301"/>
                <a:gd name="T42" fmla="*/ 302 w 330"/>
                <a:gd name="T43" fmla="*/ 26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0" h="301">
                  <a:moveTo>
                    <a:pt x="223" y="0"/>
                  </a:moveTo>
                  <a:cubicBezTo>
                    <a:pt x="223" y="284"/>
                    <a:pt x="223" y="284"/>
                    <a:pt x="223" y="284"/>
                  </a:cubicBezTo>
                  <a:cubicBezTo>
                    <a:pt x="31" y="284"/>
                    <a:pt x="31" y="284"/>
                    <a:pt x="31" y="284"/>
                  </a:cubicBezTo>
                  <a:cubicBezTo>
                    <a:pt x="31" y="284"/>
                    <a:pt x="0" y="287"/>
                    <a:pt x="0" y="233"/>
                  </a:cubicBezTo>
                  <a:cubicBezTo>
                    <a:pt x="0" y="193"/>
                    <a:pt x="0" y="31"/>
                    <a:pt x="0" y="31"/>
                  </a:cubicBezTo>
                  <a:cubicBezTo>
                    <a:pt x="0" y="31"/>
                    <a:pt x="2" y="0"/>
                    <a:pt x="43" y="0"/>
                  </a:cubicBezTo>
                  <a:cubicBezTo>
                    <a:pt x="80" y="0"/>
                    <a:pt x="223" y="0"/>
                    <a:pt x="223" y="0"/>
                  </a:cubicBezTo>
                  <a:close/>
                  <a:moveTo>
                    <a:pt x="223" y="228"/>
                  </a:moveTo>
                  <a:cubicBezTo>
                    <a:pt x="41" y="228"/>
                    <a:pt x="48" y="227"/>
                    <a:pt x="48" y="227"/>
                  </a:cubicBezTo>
                  <a:cubicBezTo>
                    <a:pt x="48" y="227"/>
                    <a:pt x="6" y="223"/>
                    <a:pt x="2" y="252"/>
                  </a:cubicBezTo>
                  <a:moveTo>
                    <a:pt x="316" y="301"/>
                  </a:moveTo>
                  <a:cubicBezTo>
                    <a:pt x="316" y="301"/>
                    <a:pt x="316" y="301"/>
                    <a:pt x="316" y="301"/>
                  </a:cubicBezTo>
                  <a:cubicBezTo>
                    <a:pt x="330" y="278"/>
                    <a:pt x="330" y="278"/>
                    <a:pt x="330" y="278"/>
                  </a:cubicBezTo>
                  <a:cubicBezTo>
                    <a:pt x="330" y="278"/>
                    <a:pt x="330" y="278"/>
                    <a:pt x="330" y="19"/>
                  </a:cubicBezTo>
                  <a:cubicBezTo>
                    <a:pt x="330" y="19"/>
                    <a:pt x="329" y="0"/>
                    <a:pt x="316" y="0"/>
                  </a:cubicBezTo>
                  <a:cubicBezTo>
                    <a:pt x="303" y="0"/>
                    <a:pt x="302" y="19"/>
                    <a:pt x="302" y="19"/>
                  </a:cubicBezTo>
                  <a:cubicBezTo>
                    <a:pt x="302" y="19"/>
                    <a:pt x="302" y="19"/>
                    <a:pt x="302" y="278"/>
                  </a:cubicBezTo>
                  <a:cubicBezTo>
                    <a:pt x="302" y="278"/>
                    <a:pt x="302" y="278"/>
                    <a:pt x="316" y="301"/>
                  </a:cubicBezTo>
                  <a:close/>
                  <a:moveTo>
                    <a:pt x="330" y="41"/>
                  </a:moveTo>
                  <a:cubicBezTo>
                    <a:pt x="313" y="22"/>
                    <a:pt x="302" y="43"/>
                    <a:pt x="302" y="43"/>
                  </a:cubicBezTo>
                  <a:moveTo>
                    <a:pt x="330" y="265"/>
                  </a:moveTo>
                  <a:cubicBezTo>
                    <a:pt x="316" y="244"/>
                    <a:pt x="302" y="265"/>
                    <a:pt x="302" y="265"/>
                  </a:cubicBezTo>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cs typeface="Segoe UI"/>
              </a:endParaRPr>
            </a:p>
          </p:txBody>
        </p:sp>
        <p:sp>
          <p:nvSpPr>
            <p:cNvPr id="18" name="magnify" title="Icon of a magnifying glass">
              <a:extLst>
                <a:ext uri="{FF2B5EF4-FFF2-40B4-BE49-F238E27FC236}">
                  <a16:creationId xmlns:a16="http://schemas.microsoft.com/office/drawing/2014/main" id="{D36FB2D1-D4EE-491E-92F0-6FE9C6D63E1D}"/>
                </a:ext>
              </a:extLst>
            </p:cNvPr>
            <p:cNvSpPr>
              <a:spLocks noChangeAspect="1" noEditPoints="1"/>
            </p:cNvSpPr>
            <p:nvPr/>
          </p:nvSpPr>
          <p:spPr bwMode="auto">
            <a:xfrm flipH="1">
              <a:off x="-569058" y="2152650"/>
              <a:ext cx="298440" cy="29273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grpSp>
    </p:spTree>
    <p:extLst>
      <p:ext uri="{BB962C8B-B14F-4D97-AF65-F5344CB8AC3E}">
        <p14:creationId xmlns:p14="http://schemas.microsoft.com/office/powerpoint/2010/main" val="395532652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2">
            <a:extLst>
              <a:ext uri="{FF2B5EF4-FFF2-40B4-BE49-F238E27FC236}">
                <a16:creationId xmlns:a16="http://schemas.microsoft.com/office/drawing/2014/main" id="{B1AA46E7-6AF9-4FD7-9386-55222FF6ECA5}"/>
              </a:ext>
            </a:extLst>
          </p:cNvPr>
          <p:cNvSpPr txBox="1">
            <a:spLocks/>
          </p:cNvSpPr>
          <p:nvPr/>
        </p:nvSpPr>
        <p:spPr>
          <a:xfrm>
            <a:off x="-1" y="3428999"/>
            <a:ext cx="7778749" cy="28400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182880" rIns="182880" bIns="182880" numCol="1" spcCol="0" rtlCol="0" fromWordArt="0" anchor="ctr" anchorCtr="0" forceAA="0" compatLnSpc="1">
            <a:prstTxWarp prst="textNoShape">
              <a:avLst/>
            </a:prstTxWarp>
            <a:noAutofit/>
          </a:bodyPr>
          <a:lstStyle>
            <a:defPPr>
              <a:defRPr lang="fr-fr"/>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rtl="0"/>
            <a:r>
              <a:rPr lang="fr-fr" sz="1800" b="0" i="0" u="none" baseline="0" dirty="0">
                <a:solidFill>
                  <a:srgbClr val="4B53BC"/>
                </a:solidFill>
                <a:cs typeface="Segoe UI"/>
              </a:rPr>
              <a:t>Usage de Microsoft Teams :</a:t>
            </a:r>
          </a:p>
          <a:p>
            <a:pPr algn="l" rtl="0">
              <a:spcBef>
                <a:spcPts val="600"/>
              </a:spcBef>
              <a:spcAft>
                <a:spcPts val="400"/>
              </a:spcAft>
            </a:pPr>
            <a:r>
              <a:rPr lang="fr-fr" sz="1600" b="0" i="1" u="none" baseline="0" dirty="0">
                <a:solidFill>
                  <a:schemeClr val="tx1"/>
                </a:solidFill>
                <a:cs typeface="Segoe UI"/>
              </a:rPr>
              <a:t>« Nous procédons à des essais simultanés, en partageant et en synchronisant des fichiers Microsoft Excel volumineux à l</a:t>
            </a:r>
            <a:r>
              <a:rPr lang="fr-FR" sz="1600" b="0" i="1" u="none" baseline="0" dirty="0">
                <a:solidFill>
                  <a:schemeClr val="tx1"/>
                </a:solidFill>
                <a:cs typeface="Segoe UI"/>
              </a:rPr>
              <a:t>’</a:t>
            </a:r>
            <a:r>
              <a:rPr lang="fr-fr" sz="1600" b="0" i="1" u="none" baseline="0" dirty="0">
                <a:solidFill>
                  <a:schemeClr val="tx1"/>
                </a:solidFill>
                <a:cs typeface="Segoe UI"/>
              </a:rPr>
              <a:t>aide de Microsoft Teams et de SharePoint Online, afin de comparer les résultats quasiment en temps réel. Désormais, il n</a:t>
            </a:r>
            <a:r>
              <a:rPr lang="fr-FR" sz="1600" b="0" i="1" u="none" baseline="0" dirty="0">
                <a:solidFill>
                  <a:schemeClr val="tx1"/>
                </a:solidFill>
                <a:cs typeface="Segoe UI"/>
              </a:rPr>
              <a:t>’</a:t>
            </a:r>
            <a:r>
              <a:rPr lang="fr-fr" sz="1600" b="0" i="1" u="none" baseline="0" dirty="0">
                <a:solidFill>
                  <a:schemeClr val="tx1"/>
                </a:solidFill>
                <a:cs typeface="Segoe UI"/>
              </a:rPr>
              <a:t>est plus nécessaire d</a:t>
            </a:r>
            <a:r>
              <a:rPr lang="fr-FR" sz="1600" b="0" i="1" u="none" baseline="0" dirty="0">
                <a:solidFill>
                  <a:schemeClr val="tx1"/>
                </a:solidFill>
                <a:cs typeface="Segoe UI"/>
              </a:rPr>
              <a:t>’</a:t>
            </a:r>
            <a:r>
              <a:rPr lang="fr-fr" sz="1600" b="0" i="1" u="none" baseline="0" dirty="0">
                <a:solidFill>
                  <a:schemeClr val="tx1"/>
                </a:solidFill>
                <a:cs typeface="Segoe UI"/>
              </a:rPr>
              <a:t>attendre que les ingénieurs sortent de la soufflerie pour passer les données en revue. Nous affinons nos analyses des capacités aérodynamiques de la voiture au fur et à mesure, procédons à de nouveaux essais avant la course, et construisons un engin plus rapide. »</a:t>
            </a:r>
          </a:p>
          <a:p>
            <a:pPr algn="l" rtl="0">
              <a:spcBef>
                <a:spcPts val="400"/>
              </a:spcBef>
              <a:spcAft>
                <a:spcPts val="400"/>
              </a:spcAft>
            </a:pPr>
            <a:r>
              <a:rPr lang="fr-fr" sz="1600" b="0" i="1" u="none" baseline="0" dirty="0">
                <a:solidFill>
                  <a:srgbClr val="4B53BC"/>
                </a:solidFill>
                <a:latin typeface="+mj-lt"/>
                <a:cs typeface="Segoe UI"/>
              </a:rPr>
              <a:t>L. Bryce </a:t>
            </a:r>
            <a:r>
              <a:rPr lang="fr-fr" sz="1600" b="0" i="1" u="none" baseline="0" dirty="0" err="1">
                <a:solidFill>
                  <a:srgbClr val="4B53BC"/>
                </a:solidFill>
                <a:latin typeface="+mj-lt"/>
                <a:cs typeface="Segoe UI"/>
              </a:rPr>
              <a:t>Whitson</a:t>
            </a:r>
            <a:r>
              <a:rPr lang="fr-fr" sz="1600" b="0" i="1" u="none" baseline="0" dirty="0">
                <a:solidFill>
                  <a:srgbClr val="4B53BC"/>
                </a:solidFill>
                <a:latin typeface="+mj-lt"/>
                <a:cs typeface="Segoe UI"/>
              </a:rPr>
              <a:t> Jr., </a:t>
            </a:r>
            <a:r>
              <a:rPr lang="fr-fr" sz="1600" b="0" i="1" u="none" baseline="0" dirty="0" err="1">
                <a:solidFill>
                  <a:srgbClr val="4B53BC"/>
                </a:solidFill>
                <a:latin typeface="+mj-lt"/>
                <a:cs typeface="Segoe UI"/>
              </a:rPr>
              <a:t>Aerodynamics</a:t>
            </a:r>
            <a:r>
              <a:rPr lang="fr-fr" sz="1600" b="0" i="1" u="none" baseline="0" dirty="0">
                <a:solidFill>
                  <a:srgbClr val="4B53BC"/>
                </a:solidFill>
                <a:latin typeface="+mj-lt"/>
                <a:cs typeface="Segoe UI"/>
              </a:rPr>
              <a:t> </a:t>
            </a:r>
            <a:r>
              <a:rPr lang="fr-fr" sz="1600" b="0" i="1" u="none" baseline="0" dirty="0" err="1">
                <a:solidFill>
                  <a:srgbClr val="4B53BC"/>
                </a:solidFill>
                <a:latin typeface="+mj-lt"/>
                <a:cs typeface="Segoe UI"/>
              </a:rPr>
              <a:t>Engineer</a:t>
            </a:r>
            <a:endParaRPr lang="fr-fr" sz="1600" b="0" i="1" u="none" baseline="0" dirty="0">
              <a:solidFill>
                <a:srgbClr val="4B53BC"/>
              </a:solidFill>
              <a:latin typeface="+mj-lt"/>
              <a:cs typeface="Segoe UI"/>
            </a:endParaRPr>
          </a:p>
          <a:p>
            <a:pPr algn="l" rtl="0">
              <a:spcBef>
                <a:spcPts val="0"/>
              </a:spcBef>
              <a:spcAft>
                <a:spcPts val="400"/>
              </a:spcAft>
            </a:pPr>
            <a:r>
              <a:rPr lang="fr-fr" sz="1600" b="0" i="1" u="none" baseline="0" dirty="0" err="1">
                <a:solidFill>
                  <a:srgbClr val="4B53BC"/>
                </a:solidFill>
                <a:latin typeface="+mj-lt"/>
                <a:cs typeface="Segoe UI"/>
              </a:rPr>
              <a:t>Hendrick</a:t>
            </a:r>
            <a:r>
              <a:rPr lang="fr-fr" sz="1600" b="0" i="1" u="none" baseline="0" dirty="0">
                <a:solidFill>
                  <a:srgbClr val="4B53BC"/>
                </a:solidFill>
                <a:latin typeface="+mj-lt"/>
                <a:cs typeface="Segoe UI"/>
              </a:rPr>
              <a:t> </a:t>
            </a:r>
            <a:r>
              <a:rPr lang="fr-fr" sz="1600" b="0" i="1" u="none" baseline="0" dirty="0" err="1">
                <a:solidFill>
                  <a:srgbClr val="4B53BC"/>
                </a:solidFill>
                <a:latin typeface="+mj-lt"/>
                <a:cs typeface="Segoe UI"/>
              </a:rPr>
              <a:t>Motorsports</a:t>
            </a:r>
            <a:endParaRPr lang="fr-fr" sz="1600" b="0" i="1" u="none" baseline="0" dirty="0">
              <a:solidFill>
                <a:srgbClr val="4B53BC"/>
              </a:solidFill>
              <a:latin typeface="+mj-lt"/>
              <a:cs typeface="Segoe UI"/>
            </a:endParaRPr>
          </a:p>
        </p:txBody>
      </p:sp>
      <p:sp>
        <p:nvSpPr>
          <p:cNvPr id="4" name="Title 3">
            <a:extLst>
              <a:ext uri="{FF2B5EF4-FFF2-40B4-BE49-F238E27FC236}">
                <a16:creationId xmlns:a16="http://schemas.microsoft.com/office/drawing/2014/main" id="{DE43F494-B992-40EC-B339-5765DC080332}"/>
              </a:ext>
            </a:extLst>
          </p:cNvPr>
          <p:cNvSpPr>
            <a:spLocks noGrp="1"/>
          </p:cNvSpPr>
          <p:nvPr>
            <p:ph type="title"/>
          </p:nvPr>
        </p:nvSpPr>
        <p:spPr/>
        <p:txBody>
          <a:bodyPr/>
          <a:lstStyle/>
          <a:p>
            <a:pPr algn="l" rtl="0"/>
            <a:r>
              <a:rPr lang="fr-fr" b="0" i="0" u="none" baseline="0" dirty="0" err="1">
                <a:cs typeface="Segoe UI"/>
              </a:rPr>
              <a:t>Hendrick</a:t>
            </a:r>
            <a:r>
              <a:rPr lang="fr-fr" b="0" i="0" u="none" baseline="0" dirty="0">
                <a:cs typeface="Segoe UI"/>
              </a:rPr>
              <a:t> </a:t>
            </a:r>
            <a:r>
              <a:rPr lang="fr-fr" b="0" i="0" u="none" baseline="0" dirty="0" err="1">
                <a:cs typeface="Segoe UI"/>
              </a:rPr>
              <a:t>Motorsports</a:t>
            </a:r>
            <a:endParaRPr lang="fr-fr" dirty="0" err="1">
              <a:cs typeface="Segoe UI"/>
            </a:endParaRPr>
          </a:p>
        </p:txBody>
      </p:sp>
      <p:sp>
        <p:nvSpPr>
          <p:cNvPr id="16" name="Rectangle 15">
            <a:extLst>
              <a:ext uri="{FF2B5EF4-FFF2-40B4-BE49-F238E27FC236}">
                <a16:creationId xmlns:a16="http://schemas.microsoft.com/office/drawing/2014/main" id="{D61618D0-E3DB-470A-B2F9-979CDBFDE2C2}"/>
              </a:ext>
            </a:extLst>
          </p:cNvPr>
          <p:cNvSpPr/>
          <p:nvPr/>
        </p:nvSpPr>
        <p:spPr bwMode="auto">
          <a:xfrm>
            <a:off x="7778750" y="1168400"/>
            <a:ext cx="4413249" cy="510063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7" name="Arrow: Bent 16">
            <a:extLst>
              <a:ext uri="{FF2B5EF4-FFF2-40B4-BE49-F238E27FC236}">
                <a16:creationId xmlns:a16="http://schemas.microsoft.com/office/drawing/2014/main" id="{729634D1-E9F4-4A80-BFB3-C1DDADC46655}"/>
              </a:ext>
            </a:extLst>
          </p:cNvPr>
          <p:cNvSpPr/>
          <p:nvPr/>
        </p:nvSpPr>
        <p:spPr bwMode="auto">
          <a:xfrm flipV="1">
            <a:off x="1527175" y="1871554"/>
            <a:ext cx="6179446" cy="1357421"/>
          </a:xfrm>
          <a:prstGeom prst="bentArrow">
            <a:avLst>
              <a:gd name="adj1" fmla="val 25000"/>
              <a:gd name="adj2" fmla="val 0"/>
              <a:gd name="adj3" fmla="val 25000"/>
              <a:gd name="adj4" fmla="val 5280"/>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5933BAB3-E5B7-48EA-A767-F05727757C9B}"/>
              </a:ext>
            </a:extLst>
          </p:cNvPr>
          <p:cNvSpPr/>
          <p:nvPr/>
        </p:nvSpPr>
        <p:spPr bwMode="auto">
          <a:xfrm>
            <a:off x="997889" y="1447293"/>
            <a:ext cx="6780860" cy="437043"/>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64008" rIns="91440" bIns="64008" numCol="1" spcCol="0" rtlCol="0" fromWordArt="0" anchor="ctr" anchorCtr="0" forceAA="0" compatLnSpc="1">
            <a:prstTxWarp prst="textNoShape">
              <a:avLst/>
            </a:prstTxWarp>
            <a:spAutoFit/>
          </a:bodyPr>
          <a:lstStyle/>
          <a:p>
            <a:pPr defTabSz="932472" fontAlgn="base">
              <a:spcBef>
                <a:spcPct val="0"/>
              </a:spcBef>
              <a:spcAft>
                <a:spcPct val="0"/>
              </a:spcAft>
            </a:pPr>
            <a:r>
              <a:rPr lang="fr-FR" sz="2000" dirty="0">
                <a:solidFill>
                  <a:srgbClr val="FFFFFF"/>
                </a:solidFill>
                <a:latin typeface="Segoe UI Semibold"/>
                <a:ea typeface="Segoe UI" pitchFamily="34" charset="0"/>
                <a:cs typeface="Segoe UI Semibold"/>
              </a:rPr>
              <a:t>CAS D’UTILISATION</a:t>
            </a:r>
            <a:endParaRPr lang="fr-fr" sz="2000" b="0" i="0" u="none" baseline="0" dirty="0">
              <a:solidFill>
                <a:srgbClr val="FFFFFF"/>
              </a:solidFill>
              <a:latin typeface="Segoe UI Semibold"/>
              <a:ea typeface="Segoe UI" pitchFamily="34" charset="0"/>
              <a:cs typeface="Segoe UI Semibold"/>
            </a:endParaRPr>
          </a:p>
        </p:txBody>
      </p:sp>
      <p:sp>
        <p:nvSpPr>
          <p:cNvPr id="21" name="Oval 20">
            <a:extLst>
              <a:ext uri="{FF2B5EF4-FFF2-40B4-BE49-F238E27FC236}">
                <a16:creationId xmlns:a16="http://schemas.microsoft.com/office/drawing/2014/main" id="{8532633E-1B07-45C4-89F7-E71980110540}"/>
              </a:ext>
            </a:extLst>
          </p:cNvPr>
          <p:cNvSpPr/>
          <p:nvPr/>
        </p:nvSpPr>
        <p:spPr bwMode="auto">
          <a:xfrm>
            <a:off x="588263" y="1331301"/>
            <a:ext cx="669026" cy="669026"/>
          </a:xfrm>
          <a:prstGeom prst="ellipse">
            <a:avLst/>
          </a:prstGeom>
          <a:solidFill>
            <a:schemeClr val="bg1"/>
          </a:solidFill>
          <a:ln w="6350">
            <a:solidFill>
              <a:srgbClr val="4B53B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2" name="Oval 21">
            <a:extLst>
              <a:ext uri="{FF2B5EF4-FFF2-40B4-BE49-F238E27FC236}">
                <a16:creationId xmlns:a16="http://schemas.microsoft.com/office/drawing/2014/main" id="{C6D8BB05-66A2-480B-A5BA-A1C09B194B7D}"/>
              </a:ext>
            </a:extLst>
          </p:cNvPr>
          <p:cNvSpPr/>
          <p:nvPr/>
        </p:nvSpPr>
        <p:spPr bwMode="auto">
          <a:xfrm>
            <a:off x="623422" y="1366460"/>
            <a:ext cx="598708" cy="598708"/>
          </a:xfrm>
          <a:prstGeom prst="ellipse">
            <a:avLst/>
          </a:prstGeom>
          <a:solidFill>
            <a:schemeClr val="bg1"/>
          </a:solidFill>
          <a:ln w="3175">
            <a:solidFill>
              <a:schemeClr val="bg1">
                <a:lumMod val="9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3" name="Text Placeholder 11">
            <a:extLst>
              <a:ext uri="{FF2B5EF4-FFF2-40B4-BE49-F238E27FC236}">
                <a16:creationId xmlns:a16="http://schemas.microsoft.com/office/drawing/2014/main" id="{C68AFD80-B386-4645-9329-4AFFDC171F0B}"/>
              </a:ext>
            </a:extLst>
          </p:cNvPr>
          <p:cNvSpPr txBox="1">
            <a:spLocks/>
          </p:cNvSpPr>
          <p:nvPr/>
        </p:nvSpPr>
        <p:spPr>
          <a:xfrm>
            <a:off x="1453016" y="1958311"/>
            <a:ext cx="5976484" cy="1138773"/>
          </a:xfrm>
          <a:prstGeom prst="rect">
            <a:avLst/>
          </a:prstGeom>
        </p:spPr>
        <p:txBody>
          <a:bodyPr vert="horz" wrap="square" lIns="0" tIns="0" rIns="0" bIns="0" rtlCol="0" anchor="t">
            <a:spAutoFit/>
          </a:bodyPr>
          <a:lst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23520" indent="-223520" algn="l" defTabSz="914400" rtl="0" fontAlgn="base">
              <a:lnSpc>
                <a:spcPct val="100000"/>
              </a:lnSpc>
              <a:spcBef>
                <a:spcPts val="1200"/>
              </a:spcBef>
              <a:buClr>
                <a:srgbClr val="4B53BC"/>
              </a:buClr>
              <a:buSzPct val="100000"/>
              <a:buBlip>
                <a:blip r:embed="rId3"/>
              </a:buBlip>
              <a:defRPr/>
            </a:pPr>
            <a:r>
              <a:rPr lang="fr-fr" sz="1800" b="0" i="0" u="none" baseline="0" dirty="0">
                <a:solidFill>
                  <a:schemeClr val="tx1"/>
                </a:solidFill>
                <a:latin typeface="+mn-lt"/>
                <a:cs typeface="Segoe UI"/>
              </a:rPr>
              <a:t>Un grand nombre d</a:t>
            </a:r>
            <a:r>
              <a:rPr lang="fr-FR" sz="1800" b="0" i="0" u="none" baseline="0" dirty="0">
                <a:solidFill>
                  <a:schemeClr val="tx1"/>
                </a:solidFill>
                <a:latin typeface="+mn-lt"/>
                <a:cs typeface="Segoe UI"/>
              </a:rPr>
              <a:t>’</a:t>
            </a:r>
            <a:r>
              <a:rPr lang="fr-fr" sz="1800" b="0" i="0" u="none" baseline="0" dirty="0">
                <a:solidFill>
                  <a:schemeClr val="tx1"/>
                </a:solidFill>
                <a:latin typeface="+mn-lt"/>
                <a:cs typeface="Segoe UI"/>
              </a:rPr>
              <a:t>équipes et de sites</a:t>
            </a:r>
          </a:p>
          <a:p>
            <a:pPr marL="223520" indent="-223520" algn="l" defTabSz="914400" rtl="0" fontAlgn="base">
              <a:lnSpc>
                <a:spcPct val="100000"/>
              </a:lnSpc>
              <a:spcBef>
                <a:spcPts val="1200"/>
              </a:spcBef>
              <a:buClr>
                <a:srgbClr val="4B53BC"/>
              </a:buClr>
              <a:buSzPct val="100000"/>
              <a:buBlip>
                <a:blip r:embed="rId3"/>
              </a:buBlip>
              <a:defRPr/>
            </a:pPr>
            <a:r>
              <a:rPr lang="fr-fr" sz="1800" b="0" i="0" u="none" baseline="0" dirty="0">
                <a:solidFill>
                  <a:schemeClr val="tx1"/>
                </a:solidFill>
                <a:latin typeface="+mn-lt"/>
                <a:cs typeface="Segoe UI"/>
              </a:rPr>
              <a:t>Une UI unique</a:t>
            </a:r>
          </a:p>
          <a:p>
            <a:pPr marL="223520" indent="-223520" algn="l" defTabSz="914400" rtl="0" fontAlgn="base">
              <a:lnSpc>
                <a:spcPct val="100000"/>
              </a:lnSpc>
              <a:spcBef>
                <a:spcPts val="1200"/>
              </a:spcBef>
              <a:buClr>
                <a:srgbClr val="4B53BC"/>
              </a:buClr>
              <a:buSzPct val="100000"/>
              <a:buBlip>
                <a:blip r:embed="rId3"/>
              </a:buBlip>
              <a:defRPr/>
            </a:pPr>
            <a:r>
              <a:rPr lang="fr-fr" sz="1800" b="0" i="0" u="none" baseline="0" dirty="0">
                <a:solidFill>
                  <a:schemeClr val="tx1"/>
                </a:solidFill>
                <a:latin typeface="+mn-lt"/>
                <a:cs typeface="Segoe UI"/>
              </a:rPr>
              <a:t>Une longue tradition d</a:t>
            </a:r>
            <a:r>
              <a:rPr lang="fr-FR" sz="1800" b="0" i="0" u="none" baseline="0" dirty="0">
                <a:solidFill>
                  <a:schemeClr val="tx1"/>
                </a:solidFill>
                <a:latin typeface="+mn-lt"/>
                <a:cs typeface="Segoe UI"/>
              </a:rPr>
              <a:t>’</a:t>
            </a:r>
            <a:r>
              <a:rPr lang="fr-fr" sz="1800" b="0" i="0" u="none" baseline="0" dirty="0">
                <a:solidFill>
                  <a:schemeClr val="tx1"/>
                </a:solidFill>
                <a:latin typeface="+mn-lt"/>
                <a:cs typeface="Segoe UI"/>
              </a:rPr>
              <a:t>utilisation du chat</a:t>
            </a:r>
          </a:p>
        </p:txBody>
      </p:sp>
      <p:pic>
        <p:nvPicPr>
          <p:cNvPr id="27" name="Picture 26">
            <a:extLst>
              <a:ext uri="{FF2B5EF4-FFF2-40B4-BE49-F238E27FC236}">
                <a16:creationId xmlns:a16="http://schemas.microsoft.com/office/drawing/2014/main" id="{68A0951C-4F95-4A44-8125-B7F77054A7D5}"/>
              </a:ext>
            </a:extLst>
          </p:cNvPr>
          <p:cNvPicPr>
            <a:picLocks noChangeAspect="1"/>
          </p:cNvPicPr>
          <p:nvPr/>
        </p:nvPicPr>
        <p:blipFill rotWithShape="1">
          <a:blip r:embed="rId4"/>
          <a:stretch/>
        </p:blipFill>
        <p:spPr>
          <a:xfrm>
            <a:off x="7910286" y="1304338"/>
            <a:ext cx="4281714" cy="4828763"/>
          </a:xfrm>
          <a:prstGeom prst="rect">
            <a:avLst/>
          </a:prstGeom>
        </p:spPr>
      </p:pic>
      <p:pic>
        <p:nvPicPr>
          <p:cNvPr id="29" name="Picture 28">
            <a:extLst>
              <a:ext uri="{FF2B5EF4-FFF2-40B4-BE49-F238E27FC236}">
                <a16:creationId xmlns:a16="http://schemas.microsoft.com/office/drawing/2014/main" id="{3F92E554-A783-480F-9CB5-DBE3D0053EA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325194" y="5537395"/>
            <a:ext cx="1276652" cy="534598"/>
          </a:xfrm>
          <a:prstGeom prst="rect">
            <a:avLst/>
          </a:prstGeom>
        </p:spPr>
      </p:pic>
      <p:grpSp>
        <p:nvGrpSpPr>
          <p:cNvPr id="13" name="Group 12">
            <a:extLst>
              <a:ext uri="{FF2B5EF4-FFF2-40B4-BE49-F238E27FC236}">
                <a16:creationId xmlns:a16="http://schemas.microsoft.com/office/drawing/2014/main" id="{578351B3-0A93-439F-A19E-86187E7BE282}"/>
              </a:ext>
            </a:extLst>
          </p:cNvPr>
          <p:cNvGrpSpPr/>
          <p:nvPr/>
        </p:nvGrpSpPr>
        <p:grpSpPr>
          <a:xfrm>
            <a:off x="747031" y="1496428"/>
            <a:ext cx="351491" cy="338773"/>
            <a:chOff x="-569058" y="2152650"/>
            <a:chExt cx="351491" cy="338773"/>
          </a:xfrm>
        </p:grpSpPr>
        <p:sp>
          <p:nvSpPr>
            <p:cNvPr id="14" name="Book_2" title="Icon of a book and a pencil">
              <a:extLst>
                <a:ext uri="{FF2B5EF4-FFF2-40B4-BE49-F238E27FC236}">
                  <a16:creationId xmlns:a16="http://schemas.microsoft.com/office/drawing/2014/main" id="{CEA7D1E3-9C41-4AF2-9B31-63F1E718196C}"/>
                </a:ext>
              </a:extLst>
            </p:cNvPr>
            <p:cNvSpPr>
              <a:spLocks noChangeAspect="1" noEditPoints="1"/>
            </p:cNvSpPr>
            <p:nvPr/>
          </p:nvSpPr>
          <p:spPr bwMode="auto">
            <a:xfrm>
              <a:off x="-529389" y="2206785"/>
              <a:ext cx="311822" cy="284638"/>
            </a:xfrm>
            <a:custGeom>
              <a:avLst/>
              <a:gdLst>
                <a:gd name="T0" fmla="*/ 223 w 330"/>
                <a:gd name="T1" fmla="*/ 0 h 301"/>
                <a:gd name="T2" fmla="*/ 223 w 330"/>
                <a:gd name="T3" fmla="*/ 284 h 301"/>
                <a:gd name="T4" fmla="*/ 31 w 330"/>
                <a:gd name="T5" fmla="*/ 284 h 301"/>
                <a:gd name="T6" fmla="*/ 0 w 330"/>
                <a:gd name="T7" fmla="*/ 233 h 301"/>
                <a:gd name="T8" fmla="*/ 0 w 330"/>
                <a:gd name="T9" fmla="*/ 31 h 301"/>
                <a:gd name="T10" fmla="*/ 43 w 330"/>
                <a:gd name="T11" fmla="*/ 0 h 301"/>
                <a:gd name="T12" fmla="*/ 223 w 330"/>
                <a:gd name="T13" fmla="*/ 0 h 301"/>
                <a:gd name="T14" fmla="*/ 223 w 330"/>
                <a:gd name="T15" fmla="*/ 228 h 301"/>
                <a:gd name="T16" fmla="*/ 48 w 330"/>
                <a:gd name="T17" fmla="*/ 227 h 301"/>
                <a:gd name="T18" fmla="*/ 2 w 330"/>
                <a:gd name="T19" fmla="*/ 252 h 301"/>
                <a:gd name="T20" fmla="*/ 316 w 330"/>
                <a:gd name="T21" fmla="*/ 301 h 301"/>
                <a:gd name="T22" fmla="*/ 316 w 330"/>
                <a:gd name="T23" fmla="*/ 301 h 301"/>
                <a:gd name="T24" fmla="*/ 330 w 330"/>
                <a:gd name="T25" fmla="*/ 278 h 301"/>
                <a:gd name="T26" fmla="*/ 330 w 330"/>
                <a:gd name="T27" fmla="*/ 19 h 301"/>
                <a:gd name="T28" fmla="*/ 316 w 330"/>
                <a:gd name="T29" fmla="*/ 0 h 301"/>
                <a:gd name="T30" fmla="*/ 302 w 330"/>
                <a:gd name="T31" fmla="*/ 19 h 301"/>
                <a:gd name="T32" fmla="*/ 302 w 330"/>
                <a:gd name="T33" fmla="*/ 278 h 301"/>
                <a:gd name="T34" fmla="*/ 316 w 330"/>
                <a:gd name="T35" fmla="*/ 301 h 301"/>
                <a:gd name="T36" fmla="*/ 330 w 330"/>
                <a:gd name="T37" fmla="*/ 41 h 301"/>
                <a:gd name="T38" fmla="*/ 302 w 330"/>
                <a:gd name="T39" fmla="*/ 43 h 301"/>
                <a:gd name="T40" fmla="*/ 330 w 330"/>
                <a:gd name="T41" fmla="*/ 265 h 301"/>
                <a:gd name="T42" fmla="*/ 302 w 330"/>
                <a:gd name="T43" fmla="*/ 26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0" h="301">
                  <a:moveTo>
                    <a:pt x="223" y="0"/>
                  </a:moveTo>
                  <a:cubicBezTo>
                    <a:pt x="223" y="284"/>
                    <a:pt x="223" y="284"/>
                    <a:pt x="223" y="284"/>
                  </a:cubicBezTo>
                  <a:cubicBezTo>
                    <a:pt x="31" y="284"/>
                    <a:pt x="31" y="284"/>
                    <a:pt x="31" y="284"/>
                  </a:cubicBezTo>
                  <a:cubicBezTo>
                    <a:pt x="31" y="284"/>
                    <a:pt x="0" y="287"/>
                    <a:pt x="0" y="233"/>
                  </a:cubicBezTo>
                  <a:cubicBezTo>
                    <a:pt x="0" y="193"/>
                    <a:pt x="0" y="31"/>
                    <a:pt x="0" y="31"/>
                  </a:cubicBezTo>
                  <a:cubicBezTo>
                    <a:pt x="0" y="31"/>
                    <a:pt x="2" y="0"/>
                    <a:pt x="43" y="0"/>
                  </a:cubicBezTo>
                  <a:cubicBezTo>
                    <a:pt x="80" y="0"/>
                    <a:pt x="223" y="0"/>
                    <a:pt x="223" y="0"/>
                  </a:cubicBezTo>
                  <a:close/>
                  <a:moveTo>
                    <a:pt x="223" y="228"/>
                  </a:moveTo>
                  <a:cubicBezTo>
                    <a:pt x="41" y="228"/>
                    <a:pt x="48" y="227"/>
                    <a:pt x="48" y="227"/>
                  </a:cubicBezTo>
                  <a:cubicBezTo>
                    <a:pt x="48" y="227"/>
                    <a:pt x="6" y="223"/>
                    <a:pt x="2" y="252"/>
                  </a:cubicBezTo>
                  <a:moveTo>
                    <a:pt x="316" y="301"/>
                  </a:moveTo>
                  <a:cubicBezTo>
                    <a:pt x="316" y="301"/>
                    <a:pt x="316" y="301"/>
                    <a:pt x="316" y="301"/>
                  </a:cubicBezTo>
                  <a:cubicBezTo>
                    <a:pt x="330" y="278"/>
                    <a:pt x="330" y="278"/>
                    <a:pt x="330" y="278"/>
                  </a:cubicBezTo>
                  <a:cubicBezTo>
                    <a:pt x="330" y="278"/>
                    <a:pt x="330" y="278"/>
                    <a:pt x="330" y="19"/>
                  </a:cubicBezTo>
                  <a:cubicBezTo>
                    <a:pt x="330" y="19"/>
                    <a:pt x="329" y="0"/>
                    <a:pt x="316" y="0"/>
                  </a:cubicBezTo>
                  <a:cubicBezTo>
                    <a:pt x="303" y="0"/>
                    <a:pt x="302" y="19"/>
                    <a:pt x="302" y="19"/>
                  </a:cubicBezTo>
                  <a:cubicBezTo>
                    <a:pt x="302" y="19"/>
                    <a:pt x="302" y="19"/>
                    <a:pt x="302" y="278"/>
                  </a:cubicBezTo>
                  <a:cubicBezTo>
                    <a:pt x="302" y="278"/>
                    <a:pt x="302" y="278"/>
                    <a:pt x="316" y="301"/>
                  </a:cubicBezTo>
                  <a:close/>
                  <a:moveTo>
                    <a:pt x="330" y="41"/>
                  </a:moveTo>
                  <a:cubicBezTo>
                    <a:pt x="313" y="22"/>
                    <a:pt x="302" y="43"/>
                    <a:pt x="302" y="43"/>
                  </a:cubicBezTo>
                  <a:moveTo>
                    <a:pt x="330" y="265"/>
                  </a:moveTo>
                  <a:cubicBezTo>
                    <a:pt x="316" y="244"/>
                    <a:pt x="302" y="265"/>
                    <a:pt x="302" y="265"/>
                  </a:cubicBezTo>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cs typeface="Segoe UI"/>
              </a:endParaRPr>
            </a:p>
          </p:txBody>
        </p:sp>
        <p:sp>
          <p:nvSpPr>
            <p:cNvPr id="15" name="magnify" title="Icon of a magnifying glass">
              <a:extLst>
                <a:ext uri="{FF2B5EF4-FFF2-40B4-BE49-F238E27FC236}">
                  <a16:creationId xmlns:a16="http://schemas.microsoft.com/office/drawing/2014/main" id="{493A50AA-5C96-4A8C-BB59-A94C6AB7ED46}"/>
                </a:ext>
              </a:extLst>
            </p:cNvPr>
            <p:cNvSpPr>
              <a:spLocks noChangeAspect="1" noEditPoints="1"/>
            </p:cNvSpPr>
            <p:nvPr/>
          </p:nvSpPr>
          <p:spPr bwMode="auto">
            <a:xfrm flipH="1">
              <a:off x="-569058" y="2152650"/>
              <a:ext cx="298440" cy="29273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grpSp>
    </p:spTree>
    <p:extLst>
      <p:ext uri="{BB962C8B-B14F-4D97-AF65-F5344CB8AC3E}">
        <p14:creationId xmlns:p14="http://schemas.microsoft.com/office/powerpoint/2010/main" val="383982967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D7795D0-025F-491F-BAE7-5B710911E7FD}"/>
              </a:ext>
            </a:extLst>
          </p:cNvPr>
          <p:cNvSpPr/>
          <p:nvPr/>
        </p:nvSpPr>
        <p:spPr bwMode="auto">
          <a:xfrm>
            <a:off x="0" y="4281715"/>
            <a:ext cx="12191998" cy="200297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102" name="Group 101">
            <a:extLst>
              <a:ext uri="{FF2B5EF4-FFF2-40B4-BE49-F238E27FC236}">
                <a16:creationId xmlns:a16="http://schemas.microsoft.com/office/drawing/2014/main" id="{0BBFFAEB-C930-4824-9315-023A45C52846}"/>
              </a:ext>
            </a:extLst>
          </p:cNvPr>
          <p:cNvGrpSpPr/>
          <p:nvPr/>
        </p:nvGrpSpPr>
        <p:grpSpPr>
          <a:xfrm>
            <a:off x="4571867" y="1957914"/>
            <a:ext cx="3307865" cy="2072814"/>
            <a:chOff x="848820" y="1957914"/>
            <a:chExt cx="3307865" cy="2072814"/>
          </a:xfrm>
        </p:grpSpPr>
        <p:sp>
          <p:nvSpPr>
            <p:cNvPr id="103" name="Arrow: Bent 102">
              <a:extLst>
                <a:ext uri="{FF2B5EF4-FFF2-40B4-BE49-F238E27FC236}">
                  <a16:creationId xmlns:a16="http://schemas.microsoft.com/office/drawing/2014/main" id="{7D80B910-39C6-4658-A89B-16F6AC75C4B5}"/>
                </a:ext>
              </a:extLst>
            </p:cNvPr>
            <p:cNvSpPr/>
            <p:nvPr/>
          </p:nvSpPr>
          <p:spPr bwMode="auto">
            <a:xfrm flipV="1">
              <a:off x="922083" y="1957914"/>
              <a:ext cx="3153030" cy="2055286"/>
            </a:xfrm>
            <a:prstGeom prst="bentArrow">
              <a:avLst>
                <a:gd name="adj1" fmla="val 25000"/>
                <a:gd name="adj2" fmla="val 0"/>
                <a:gd name="adj3" fmla="val 25000"/>
                <a:gd name="adj4" fmla="val 347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04" name="Rectangle: Rounded Corners 103">
              <a:extLst>
                <a:ext uri="{FF2B5EF4-FFF2-40B4-BE49-F238E27FC236}">
                  <a16:creationId xmlns:a16="http://schemas.microsoft.com/office/drawing/2014/main" id="{6586B66F-83B9-4C68-87AD-7EC5710E38AC}"/>
                </a:ext>
              </a:extLst>
            </p:cNvPr>
            <p:cNvSpPr/>
            <p:nvPr/>
          </p:nvSpPr>
          <p:spPr bwMode="auto">
            <a:xfrm>
              <a:off x="3846513" y="3994152"/>
              <a:ext cx="228600" cy="36576"/>
            </a:xfrm>
            <a:prstGeom prst="roundRect">
              <a:avLst>
                <a:gd name="adj" fmla="val 50000"/>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05" name="Rectangle 104">
              <a:extLst>
                <a:ext uri="{FF2B5EF4-FFF2-40B4-BE49-F238E27FC236}">
                  <a16:creationId xmlns:a16="http://schemas.microsoft.com/office/drawing/2014/main" id="{C26EBC53-40FE-4663-B92D-5D223B91356D}"/>
                </a:ext>
              </a:extLst>
            </p:cNvPr>
            <p:cNvSpPr/>
            <p:nvPr/>
          </p:nvSpPr>
          <p:spPr>
            <a:xfrm>
              <a:off x="848820" y="2102630"/>
              <a:ext cx="3307865" cy="1723549"/>
            </a:xfrm>
            <a:prstGeom prst="rect">
              <a:avLst/>
            </a:prstGeom>
          </p:spPr>
          <p:txBody>
            <a:bodyPr wrap="square" lIns="0" tIns="0" rIns="0" bIns="0" anchor="t">
              <a:spAutoFit/>
            </a:bodyPr>
            <a:lstStyle/>
            <a:p>
              <a:pPr marL="285750" indent="-285750" algn="l" rtl="0" fontAlgn="base">
                <a:spcBef>
                  <a:spcPts val="600"/>
                </a:spcBef>
                <a:buSzPct val="100000"/>
                <a:buBlip>
                  <a:blip r:embed="rId2"/>
                </a:buBlip>
                <a:defRPr/>
              </a:pPr>
              <a:r>
                <a:rPr lang="fr-fr" b="0" i="0" u="none" baseline="0" dirty="0">
                  <a:cs typeface="Segoe UI"/>
                </a:rPr>
                <a:t>Pour une aide relative au déploiement et à l</a:t>
              </a:r>
              <a:r>
                <a:rPr lang="fr-FR" b="0" i="0" u="none" baseline="0" dirty="0">
                  <a:cs typeface="Segoe UI"/>
                </a:rPr>
                <a:t>’</a:t>
              </a:r>
              <a:r>
                <a:rPr lang="fr-fr" b="0" i="0" u="none" baseline="0" dirty="0">
                  <a:cs typeface="Segoe UI"/>
                </a:rPr>
                <a:t>adoption, rendez-vous sur</a:t>
              </a:r>
            </a:p>
            <a:p>
              <a:pPr marL="635000" indent="-222250" fontAlgn="base">
                <a:spcBef>
                  <a:spcPts val="600"/>
                </a:spcBef>
                <a:buSzPct val="100000"/>
                <a:buFont typeface="Arial" panose="020B0604020202020204" pitchFamily="34" charset="0"/>
                <a:buChar char="•"/>
                <a:defRPr/>
              </a:pPr>
              <a:r>
                <a:rPr lang="fr-fr" sz="1600" b="0" i="0" u="none" baseline="0" dirty="0">
                  <a:solidFill>
                    <a:srgbClr val="4B53BC"/>
                  </a:solidFill>
                  <a:cs typeface="Segoe UI"/>
                  <a:hlinkClick r:id="rId3">
                    <a:extLst>
                      <a:ext uri="{A12FA001-AC4F-418D-AE19-62706E023703}">
                        <ahyp:hlinkClr xmlns:ahyp="http://schemas.microsoft.com/office/drawing/2018/hyperlinkcolor" val="tx"/>
                      </a:ext>
                    </a:extLst>
                  </a:hlinkClick>
                </a:rPr>
                <a:t>FastTrack</a:t>
              </a:r>
              <a:r>
                <a:rPr lang="fr-fr" sz="1600" dirty="0">
                  <a:solidFill>
                    <a:srgbClr val="4B53BC"/>
                  </a:solidFill>
                  <a:cs typeface="Segoe UI"/>
                </a:rPr>
                <a:t> </a:t>
              </a:r>
              <a:endParaRPr lang="fr-fr" sz="1600" b="0" i="0" u="none" baseline="0" dirty="0">
                <a:solidFill>
                  <a:srgbClr val="4B53BC"/>
                </a:solidFill>
                <a:cs typeface="Segoe UI"/>
              </a:endParaRPr>
            </a:p>
            <a:p>
              <a:pPr marL="635000" indent="-222250" algn="l" rtl="0" fontAlgn="base">
                <a:spcBef>
                  <a:spcPts val="600"/>
                </a:spcBef>
                <a:buSzPct val="100000"/>
                <a:buFont typeface="Arial" panose="020B0604020202020204" pitchFamily="34" charset="0"/>
                <a:buChar char="•"/>
                <a:defRPr/>
              </a:pPr>
              <a:r>
                <a:rPr lang="fr-fr" sz="1600" b="0" i="0" u="none" baseline="0" dirty="0">
                  <a:solidFill>
                    <a:srgbClr val="4B53BC"/>
                  </a:solidFill>
                  <a:cs typeface="Segoe UI"/>
                  <a:hlinkClick r:id="rId4">
                    <a:extLst>
                      <a:ext uri="{A12FA001-AC4F-418D-AE19-62706E023703}">
                        <ahyp:hlinkClr xmlns:ahyp="http://schemas.microsoft.com/office/drawing/2018/hyperlinkcolor" val="tx"/>
                      </a:ext>
                    </a:extLst>
                  </a:hlinkClick>
                </a:rPr>
                <a:t>https://aka.ms/SuccessWith</a:t>
              </a:r>
              <a:br>
                <a:rPr lang="fr-fr" sz="1600" dirty="0">
                  <a:solidFill>
                    <a:srgbClr val="4B53BC"/>
                  </a:solidFill>
                  <a:cs typeface="Segoe UI"/>
                  <a:hlinkClick r:id="rId4">
                    <a:extLst>
                      <a:ext uri="{A12FA001-AC4F-418D-AE19-62706E023703}">
                        <ahyp:hlinkClr xmlns:ahyp="http://schemas.microsoft.com/office/drawing/2018/hyperlinkcolor" val="tx"/>
                      </a:ext>
                    </a:extLst>
                  </a:hlinkClick>
                </a:rPr>
              </a:br>
              <a:r>
                <a:rPr lang="fr-fr" sz="1600" b="0" i="0" u="none" baseline="0" dirty="0">
                  <a:solidFill>
                    <a:srgbClr val="4B53BC"/>
                  </a:solidFill>
                  <a:cs typeface="Segoe UI"/>
                  <a:hlinkClick r:id="rId4">
                    <a:extLst>
                      <a:ext uri="{A12FA001-AC4F-418D-AE19-62706E023703}">
                        <ahyp:hlinkClr xmlns:ahyp="http://schemas.microsoft.com/office/drawing/2018/hyperlinkcolor" val="tx"/>
                      </a:ext>
                    </a:extLst>
                  </a:hlinkClick>
                </a:rPr>
                <a:t>Teams</a:t>
              </a:r>
              <a:endParaRPr lang="fr-fr" sz="1600" dirty="0">
                <a:solidFill>
                  <a:srgbClr val="4B53BC"/>
                </a:solidFill>
                <a:cs typeface="Segoe UI"/>
              </a:endParaRPr>
            </a:p>
          </p:txBody>
        </p:sp>
      </p:grpSp>
      <p:grpSp>
        <p:nvGrpSpPr>
          <p:cNvPr id="106" name="Group 105">
            <a:extLst>
              <a:ext uri="{FF2B5EF4-FFF2-40B4-BE49-F238E27FC236}">
                <a16:creationId xmlns:a16="http://schemas.microsoft.com/office/drawing/2014/main" id="{7A800869-0C1A-48DC-BA7E-0CB0DB539104}"/>
              </a:ext>
            </a:extLst>
          </p:cNvPr>
          <p:cNvGrpSpPr/>
          <p:nvPr/>
        </p:nvGrpSpPr>
        <p:grpSpPr>
          <a:xfrm>
            <a:off x="8400803" y="1957914"/>
            <a:ext cx="3226293" cy="2072814"/>
            <a:chOff x="848820" y="1957914"/>
            <a:chExt cx="3226293" cy="2072814"/>
          </a:xfrm>
        </p:grpSpPr>
        <p:sp>
          <p:nvSpPr>
            <p:cNvPr id="107" name="Arrow: Bent 106">
              <a:extLst>
                <a:ext uri="{FF2B5EF4-FFF2-40B4-BE49-F238E27FC236}">
                  <a16:creationId xmlns:a16="http://schemas.microsoft.com/office/drawing/2014/main" id="{7EF4C1AB-E61F-40DF-B214-CF60D44F4AFB}"/>
                </a:ext>
              </a:extLst>
            </p:cNvPr>
            <p:cNvSpPr/>
            <p:nvPr/>
          </p:nvSpPr>
          <p:spPr bwMode="auto">
            <a:xfrm flipV="1">
              <a:off x="922083" y="1957914"/>
              <a:ext cx="3153030" cy="2055286"/>
            </a:xfrm>
            <a:prstGeom prst="bentArrow">
              <a:avLst>
                <a:gd name="adj1" fmla="val 25000"/>
                <a:gd name="adj2" fmla="val 0"/>
                <a:gd name="adj3" fmla="val 25000"/>
                <a:gd name="adj4" fmla="val 347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08" name="Rectangle: Rounded Corners 107">
              <a:extLst>
                <a:ext uri="{FF2B5EF4-FFF2-40B4-BE49-F238E27FC236}">
                  <a16:creationId xmlns:a16="http://schemas.microsoft.com/office/drawing/2014/main" id="{B2F7555A-FDFC-4798-B82E-6B5B2A0997C4}"/>
                </a:ext>
              </a:extLst>
            </p:cNvPr>
            <p:cNvSpPr/>
            <p:nvPr/>
          </p:nvSpPr>
          <p:spPr bwMode="auto">
            <a:xfrm>
              <a:off x="3846513" y="3994152"/>
              <a:ext cx="228600" cy="36576"/>
            </a:xfrm>
            <a:prstGeom prst="roundRect">
              <a:avLst>
                <a:gd name="adj" fmla="val 50000"/>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09" name="Rectangle 108">
              <a:extLst>
                <a:ext uri="{FF2B5EF4-FFF2-40B4-BE49-F238E27FC236}">
                  <a16:creationId xmlns:a16="http://schemas.microsoft.com/office/drawing/2014/main" id="{C91ED7E5-36B8-4784-9328-C56D97A3C996}"/>
                </a:ext>
              </a:extLst>
            </p:cNvPr>
            <p:cNvSpPr/>
            <p:nvPr/>
          </p:nvSpPr>
          <p:spPr>
            <a:xfrm>
              <a:off x="848820" y="2102630"/>
              <a:ext cx="3226293" cy="553998"/>
            </a:xfrm>
            <a:prstGeom prst="rect">
              <a:avLst/>
            </a:prstGeom>
          </p:spPr>
          <p:txBody>
            <a:bodyPr wrap="square" lIns="0" tIns="0" rIns="0" bIns="0" anchor="t">
              <a:spAutoFit/>
            </a:bodyPr>
            <a:lstStyle/>
            <a:p>
              <a:pPr marL="285750" indent="-285750" algn="l" rtl="0" fontAlgn="base">
                <a:spcBef>
                  <a:spcPts val="600"/>
                </a:spcBef>
                <a:buSzPct val="100000"/>
                <a:buBlip>
                  <a:blip r:embed="rId2"/>
                </a:buBlip>
                <a:defRPr/>
              </a:pPr>
              <a:r>
                <a:rPr lang="fr-fr" b="0" i="0" u="none" baseline="0" dirty="0">
                  <a:cs typeface="Segoe UI"/>
                </a:rPr>
                <a:t>Partagez vos commentaires directement dans le produit</a:t>
              </a:r>
            </a:p>
          </p:txBody>
        </p:sp>
      </p:grpSp>
      <p:grpSp>
        <p:nvGrpSpPr>
          <p:cNvPr id="16" name="Group 15">
            <a:extLst>
              <a:ext uri="{FF2B5EF4-FFF2-40B4-BE49-F238E27FC236}">
                <a16:creationId xmlns:a16="http://schemas.microsoft.com/office/drawing/2014/main" id="{9DB7B282-86F4-4DE9-9919-F0136174929F}"/>
              </a:ext>
            </a:extLst>
          </p:cNvPr>
          <p:cNvGrpSpPr/>
          <p:nvPr/>
        </p:nvGrpSpPr>
        <p:grpSpPr>
          <a:xfrm>
            <a:off x="848820" y="1957914"/>
            <a:ext cx="3593486" cy="2072814"/>
            <a:chOff x="848820" y="1957914"/>
            <a:chExt cx="3593486" cy="2072814"/>
          </a:xfrm>
        </p:grpSpPr>
        <p:sp>
          <p:nvSpPr>
            <p:cNvPr id="100" name="Arrow: Bent 99">
              <a:extLst>
                <a:ext uri="{FF2B5EF4-FFF2-40B4-BE49-F238E27FC236}">
                  <a16:creationId xmlns:a16="http://schemas.microsoft.com/office/drawing/2014/main" id="{767DBFCA-91FA-4597-B867-87978EA01B00}"/>
                </a:ext>
              </a:extLst>
            </p:cNvPr>
            <p:cNvSpPr/>
            <p:nvPr/>
          </p:nvSpPr>
          <p:spPr bwMode="auto">
            <a:xfrm flipV="1">
              <a:off x="922083" y="1957914"/>
              <a:ext cx="3153030" cy="2055286"/>
            </a:xfrm>
            <a:prstGeom prst="bentArrow">
              <a:avLst>
                <a:gd name="adj1" fmla="val 25000"/>
                <a:gd name="adj2" fmla="val 0"/>
                <a:gd name="adj3" fmla="val 25000"/>
                <a:gd name="adj4" fmla="val 347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01" name="Rectangle: Rounded Corners 100">
              <a:extLst>
                <a:ext uri="{FF2B5EF4-FFF2-40B4-BE49-F238E27FC236}">
                  <a16:creationId xmlns:a16="http://schemas.microsoft.com/office/drawing/2014/main" id="{714FE61F-7120-4C90-8A4B-CB2EEBDDF5EF}"/>
                </a:ext>
              </a:extLst>
            </p:cNvPr>
            <p:cNvSpPr/>
            <p:nvPr/>
          </p:nvSpPr>
          <p:spPr bwMode="auto">
            <a:xfrm>
              <a:off x="3846513" y="3994152"/>
              <a:ext cx="228600" cy="36576"/>
            </a:xfrm>
            <a:prstGeom prst="roundRect">
              <a:avLst>
                <a:gd name="adj" fmla="val 50000"/>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99" name="Rectangle 98">
              <a:extLst>
                <a:ext uri="{FF2B5EF4-FFF2-40B4-BE49-F238E27FC236}">
                  <a16:creationId xmlns:a16="http://schemas.microsoft.com/office/drawing/2014/main" id="{5D22ACD0-A919-4A6F-80C5-62530151B81A}"/>
                </a:ext>
              </a:extLst>
            </p:cNvPr>
            <p:cNvSpPr/>
            <p:nvPr/>
          </p:nvSpPr>
          <p:spPr>
            <a:xfrm>
              <a:off x="848820" y="2102630"/>
              <a:ext cx="3593486" cy="1769715"/>
            </a:xfrm>
            <a:prstGeom prst="rect">
              <a:avLst/>
            </a:prstGeom>
          </p:spPr>
          <p:txBody>
            <a:bodyPr wrap="square" lIns="0" tIns="0" rIns="0" bIns="0" anchor="t">
              <a:spAutoFit/>
            </a:bodyPr>
            <a:lstStyle/>
            <a:p>
              <a:pPr marL="285750" indent="-285750" algn="l" rtl="0" fontAlgn="base">
                <a:spcBef>
                  <a:spcPts val="600"/>
                </a:spcBef>
                <a:buSzPct val="100000"/>
                <a:buBlip>
                  <a:blip r:embed="rId2"/>
                </a:buBlip>
                <a:defRPr/>
              </a:pPr>
              <a:r>
                <a:rPr lang="fr-fr" b="0" i="0" u="none" baseline="0" dirty="0">
                  <a:cs typeface="Segoe UI"/>
                </a:rPr>
                <a:t>Commencez à utiliser </a:t>
              </a:r>
              <a:r>
                <a:rPr lang="fr-fr" b="0" i="0" u="none" baseline="0" dirty="0">
                  <a:solidFill>
                    <a:srgbClr val="4B53BC"/>
                  </a:solidFill>
                  <a:cs typeface="Segoe UI"/>
                  <a:hlinkClick r:id="rId5">
                    <a:extLst>
                      <a:ext uri="{A12FA001-AC4F-418D-AE19-62706E023703}">
                        <ahyp:hlinkClr xmlns:ahyp="http://schemas.microsoft.com/office/drawing/2018/hyperlinkcolor" val="tx"/>
                      </a:ext>
                    </a:extLst>
                  </a:hlinkClick>
                </a:rPr>
                <a:t>Microsoft Teams</a:t>
              </a:r>
              <a:r>
                <a:rPr lang="fr-fr" b="0" i="0" u="none" baseline="0" dirty="0">
                  <a:cs typeface="Segoe UI"/>
                </a:rPr>
                <a:t> dès aujourd</a:t>
              </a:r>
              <a:r>
                <a:rPr lang="fr-FR" b="0" i="0" u="none" baseline="0" dirty="0">
                  <a:cs typeface="Segoe UI"/>
                </a:rPr>
                <a:t>’</a:t>
              </a:r>
              <a:r>
                <a:rPr lang="fr-fr" b="0" i="0" u="none" baseline="0" dirty="0">
                  <a:cs typeface="Segoe UI"/>
                </a:rPr>
                <a:t>hui</a:t>
              </a:r>
            </a:p>
            <a:p>
              <a:pPr marL="635000" indent="-222250" algn="l" rtl="0" fontAlgn="base">
                <a:spcBef>
                  <a:spcPts val="600"/>
                </a:spcBef>
                <a:buSzPct val="100000"/>
                <a:buFont typeface="Arial" panose="020B0604020202020204" pitchFamily="34" charset="0"/>
                <a:buChar char="•"/>
                <a:defRPr/>
              </a:pPr>
              <a:r>
                <a:rPr lang="fr-fr" sz="1600" b="0" i="0" u="none" baseline="0" dirty="0">
                  <a:cs typeface="Segoe UI"/>
                </a:rPr>
                <a:t>Choisissez un projet</a:t>
              </a:r>
            </a:p>
            <a:p>
              <a:pPr marL="635000" indent="-222250" algn="l" rtl="0" fontAlgn="base">
                <a:spcBef>
                  <a:spcPts val="600"/>
                </a:spcBef>
                <a:buSzPct val="100000"/>
                <a:buFont typeface="Arial" panose="020B0604020202020204" pitchFamily="34" charset="0"/>
                <a:buChar char="•"/>
                <a:defRPr/>
              </a:pPr>
              <a:r>
                <a:rPr lang="fr-fr" sz="1600" b="0" i="0" u="none" baseline="0" dirty="0">
                  <a:cs typeface="Segoe UI"/>
                </a:rPr>
                <a:t>Collaborez sur ce projet </a:t>
              </a:r>
              <a:br>
                <a:rPr lang="fr-fr" sz="1600" b="0" i="0" u="none" baseline="0" dirty="0">
                  <a:cs typeface="Segoe UI"/>
                </a:rPr>
              </a:br>
              <a:r>
                <a:rPr lang="fr-fr" sz="1600" b="0" i="0" u="none" baseline="0" dirty="0">
                  <a:cs typeface="Segoe UI"/>
                </a:rPr>
                <a:t>via Teams</a:t>
              </a:r>
            </a:p>
            <a:p>
              <a:pPr marL="635000" indent="-222250" algn="l" rtl="0" fontAlgn="base">
                <a:spcBef>
                  <a:spcPts val="600"/>
                </a:spcBef>
                <a:buSzPct val="100000"/>
                <a:buFont typeface="Arial" panose="020B0604020202020204" pitchFamily="34" charset="0"/>
                <a:buChar char="•"/>
                <a:defRPr/>
              </a:pPr>
              <a:r>
                <a:rPr lang="fr-fr" sz="1600" b="0" i="0" u="none" baseline="0" dirty="0">
                  <a:cs typeface="Segoe UI"/>
                </a:rPr>
                <a:t>Téléchargez l</a:t>
              </a:r>
              <a:r>
                <a:rPr lang="fr-FR" sz="1600" b="0" i="0" u="none" baseline="0" dirty="0">
                  <a:cs typeface="Segoe UI"/>
                </a:rPr>
                <a:t>’</a:t>
              </a:r>
              <a:r>
                <a:rPr lang="fr-fr" sz="1600" b="0" i="0" u="none" baseline="0" dirty="0">
                  <a:solidFill>
                    <a:srgbClr val="4B53BC"/>
                  </a:solidFill>
                  <a:cs typeface="Segoe UI"/>
                  <a:hlinkClick r:id="rId6">
                    <a:extLst>
                      <a:ext uri="{A12FA001-AC4F-418D-AE19-62706E023703}">
                        <ahyp:hlinkClr xmlns:ahyp="http://schemas.microsoft.com/office/drawing/2018/hyperlinkcolor" val="tx"/>
                      </a:ext>
                    </a:extLst>
                  </a:hlinkClick>
                </a:rPr>
                <a:t>application mobile</a:t>
              </a:r>
              <a:endParaRPr lang="fr-fr" sz="1600" dirty="0">
                <a:solidFill>
                  <a:srgbClr val="4B53BC"/>
                </a:solidFill>
                <a:cs typeface="Segoe UI"/>
              </a:endParaRPr>
            </a:p>
          </p:txBody>
        </p:sp>
      </p:grpSp>
      <p:sp>
        <p:nvSpPr>
          <p:cNvPr id="2" name="Title 1">
            <a:extLst>
              <a:ext uri="{FF2B5EF4-FFF2-40B4-BE49-F238E27FC236}">
                <a16:creationId xmlns:a16="http://schemas.microsoft.com/office/drawing/2014/main" id="{33BF957E-A1FE-4395-B920-75331F7E16BD}"/>
              </a:ext>
            </a:extLst>
          </p:cNvPr>
          <p:cNvSpPr>
            <a:spLocks noGrp="1"/>
          </p:cNvSpPr>
          <p:nvPr>
            <p:ph type="title"/>
          </p:nvPr>
        </p:nvSpPr>
        <p:spPr/>
        <p:txBody>
          <a:bodyPr/>
          <a:lstStyle/>
          <a:p>
            <a:pPr algn="l" rtl="0"/>
            <a:r>
              <a:rPr lang="fr-fr" b="0" i="0" u="none" baseline="0" dirty="0">
                <a:cs typeface="Segoe UI"/>
              </a:rPr>
              <a:t>Étapes suivantes</a:t>
            </a:r>
          </a:p>
        </p:txBody>
      </p:sp>
      <p:pic>
        <p:nvPicPr>
          <p:cNvPr id="112" name="Picture 111" descr="A group of people sitting in front of a window&#10;&#10;Description automatically generated">
            <a:extLst>
              <a:ext uri="{FF2B5EF4-FFF2-40B4-BE49-F238E27FC236}">
                <a16:creationId xmlns:a16="http://schemas.microsoft.com/office/drawing/2014/main" id="{49637C01-AB1B-4FDA-872C-E59530472A85}"/>
              </a:ext>
            </a:extLst>
          </p:cNvPr>
          <p:cNvPicPr>
            <a:picLocks noChangeAspect="1"/>
          </p:cNvPicPr>
          <p:nvPr/>
        </p:nvPicPr>
        <p:blipFill rotWithShape="1">
          <a:blip r:embed="rId7"/>
          <a:srcRect l="1" t="69186" r="-1" b="8812"/>
          <a:stretch/>
        </p:blipFill>
        <p:spPr>
          <a:xfrm>
            <a:off x="2" y="4388962"/>
            <a:ext cx="12191998" cy="1788478"/>
          </a:xfrm>
          <a:custGeom>
            <a:avLst/>
            <a:gdLst>
              <a:gd name="connsiteX0" fmla="*/ 0 w 11026774"/>
              <a:gd name="connsiteY0" fmla="*/ 0 h 1691640"/>
              <a:gd name="connsiteX1" fmla="*/ 11026774 w 11026774"/>
              <a:gd name="connsiteY1" fmla="*/ 0 h 1691640"/>
              <a:gd name="connsiteX2" fmla="*/ 11026774 w 11026774"/>
              <a:gd name="connsiteY2" fmla="*/ 1691640 h 1691640"/>
              <a:gd name="connsiteX3" fmla="*/ 0 w 11026774"/>
              <a:gd name="connsiteY3" fmla="*/ 1691640 h 1691640"/>
            </a:gdLst>
            <a:ahLst/>
            <a:cxnLst>
              <a:cxn ang="0">
                <a:pos x="connsiteX0" y="connsiteY0"/>
              </a:cxn>
              <a:cxn ang="0">
                <a:pos x="connsiteX1" y="connsiteY1"/>
              </a:cxn>
              <a:cxn ang="0">
                <a:pos x="connsiteX2" y="connsiteY2"/>
              </a:cxn>
              <a:cxn ang="0">
                <a:pos x="connsiteX3" y="connsiteY3"/>
              </a:cxn>
            </a:cxnLst>
            <a:rect l="l" t="t" r="r" b="b"/>
            <a:pathLst>
              <a:path w="11026774" h="1691640">
                <a:moveTo>
                  <a:pt x="0" y="0"/>
                </a:moveTo>
                <a:lnTo>
                  <a:pt x="11026774" y="0"/>
                </a:lnTo>
                <a:lnTo>
                  <a:pt x="11026774" y="1691640"/>
                </a:lnTo>
                <a:lnTo>
                  <a:pt x="0" y="1691640"/>
                </a:lnTo>
                <a:close/>
              </a:path>
            </a:pathLst>
          </a:custGeom>
        </p:spPr>
      </p:pic>
      <p:sp>
        <p:nvSpPr>
          <p:cNvPr id="64" name="Arrow: Pentagon 63">
            <a:extLst>
              <a:ext uri="{FF2B5EF4-FFF2-40B4-BE49-F238E27FC236}">
                <a16:creationId xmlns:a16="http://schemas.microsoft.com/office/drawing/2014/main" id="{E2C18E6D-2A2A-4F7F-80C5-61D207533CAA}"/>
              </a:ext>
            </a:extLst>
          </p:cNvPr>
          <p:cNvSpPr/>
          <p:nvPr/>
        </p:nvSpPr>
        <p:spPr bwMode="auto">
          <a:xfrm>
            <a:off x="1104106" y="1417929"/>
            <a:ext cx="3064034" cy="492443"/>
          </a:xfrm>
          <a:prstGeom prst="homePlate">
            <a:avLst>
              <a:gd name="adj" fmla="val 24843"/>
            </a:avLst>
          </a:prstGeom>
          <a:solidFill>
            <a:schemeClr val="bg1"/>
          </a:solidFill>
          <a:ln>
            <a:noFill/>
            <a:headEnd type="none" w="med" len="med"/>
            <a:tailEnd type="none" w="med" len="med"/>
          </a:ln>
          <a:effectLst>
            <a:outerShdw dist="38100" algn="l" rotWithShape="0">
              <a:schemeClr val="bg1">
                <a:lumMod val="9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91440" bIns="91440" numCol="1" spcCol="0" rtlCol="0" fromWordArt="0" anchor="ctr" anchorCtr="0" forceAA="0" compatLnSpc="1">
            <a:prstTxWarp prst="textNoShape">
              <a:avLst/>
            </a:prstTxWarp>
            <a:spAutoFit/>
          </a:bodyPr>
          <a:lstStyle/>
          <a:p>
            <a:pPr lvl="0" algn="l" rtl="0" fontAlgn="base">
              <a:spcBef>
                <a:spcPct val="0"/>
              </a:spcBef>
              <a:spcAft>
                <a:spcPts val="1200"/>
              </a:spcAft>
              <a:buClr>
                <a:prstClr val="white"/>
              </a:buClr>
              <a:buSzPct val="100000"/>
              <a:defRPr/>
            </a:pPr>
            <a:r>
              <a:rPr lang="fr-fr" sz="2000" b="0" i="0" u="none" baseline="0" dirty="0">
                <a:solidFill>
                  <a:srgbClr val="4B53BC"/>
                </a:solidFill>
                <a:latin typeface="+mj-lt"/>
                <a:ea typeface="Segoe UI" panose="020B0502040204020203" pitchFamily="34" charset="0"/>
                <a:cs typeface="Segoe UI"/>
              </a:rPr>
              <a:t>LANCEZ-VOUS</a:t>
            </a:r>
          </a:p>
        </p:txBody>
      </p:sp>
      <p:sp>
        <p:nvSpPr>
          <p:cNvPr id="66" name="Arrow: Pentagon 65">
            <a:extLst>
              <a:ext uri="{FF2B5EF4-FFF2-40B4-BE49-F238E27FC236}">
                <a16:creationId xmlns:a16="http://schemas.microsoft.com/office/drawing/2014/main" id="{B5D6D0F2-4F33-402F-AD16-00AB1B79706B}"/>
              </a:ext>
            </a:extLst>
          </p:cNvPr>
          <p:cNvSpPr/>
          <p:nvPr/>
        </p:nvSpPr>
        <p:spPr bwMode="auto">
          <a:xfrm>
            <a:off x="1104106" y="1433318"/>
            <a:ext cx="3064034" cy="461665"/>
          </a:xfrm>
          <a:custGeom>
            <a:avLst/>
            <a:gdLst>
              <a:gd name="connsiteX0" fmla="*/ 0 w 3182143"/>
              <a:gd name="connsiteY0" fmla="*/ 0 h 461665"/>
              <a:gd name="connsiteX1" fmla="*/ 3067452 w 3182143"/>
              <a:gd name="connsiteY1" fmla="*/ 0 h 461665"/>
              <a:gd name="connsiteX2" fmla="*/ 3182143 w 3182143"/>
              <a:gd name="connsiteY2" fmla="*/ 230833 h 461665"/>
              <a:gd name="connsiteX3" fmla="*/ 3067452 w 3182143"/>
              <a:gd name="connsiteY3" fmla="*/ 461665 h 461665"/>
              <a:gd name="connsiteX4" fmla="*/ 0 w 3182143"/>
              <a:gd name="connsiteY4" fmla="*/ 461665 h 461665"/>
              <a:gd name="connsiteX5" fmla="*/ 0 w 3182143"/>
              <a:gd name="connsiteY5" fmla="*/ 0 h 461665"/>
              <a:gd name="connsiteX0" fmla="*/ 0 w 3182143"/>
              <a:gd name="connsiteY0" fmla="*/ 0 h 461665"/>
              <a:gd name="connsiteX1" fmla="*/ 3067452 w 3182143"/>
              <a:gd name="connsiteY1" fmla="*/ 0 h 461665"/>
              <a:gd name="connsiteX2" fmla="*/ 3182143 w 3182143"/>
              <a:gd name="connsiteY2" fmla="*/ 230833 h 461665"/>
              <a:gd name="connsiteX3" fmla="*/ 3067452 w 3182143"/>
              <a:gd name="connsiteY3" fmla="*/ 461665 h 461665"/>
              <a:gd name="connsiteX4" fmla="*/ 0 w 3182143"/>
              <a:gd name="connsiteY4" fmla="*/ 461665 h 461665"/>
              <a:gd name="connsiteX5" fmla="*/ 91440 w 3182143"/>
              <a:gd name="connsiteY5" fmla="*/ 91440 h 461665"/>
              <a:gd name="connsiteX0" fmla="*/ 0 w 3182143"/>
              <a:gd name="connsiteY0" fmla="*/ 0 h 461665"/>
              <a:gd name="connsiteX1" fmla="*/ 3067452 w 3182143"/>
              <a:gd name="connsiteY1" fmla="*/ 0 h 461665"/>
              <a:gd name="connsiteX2" fmla="*/ 3182143 w 3182143"/>
              <a:gd name="connsiteY2" fmla="*/ 230833 h 461665"/>
              <a:gd name="connsiteX3" fmla="*/ 3067452 w 3182143"/>
              <a:gd name="connsiteY3" fmla="*/ 461665 h 461665"/>
              <a:gd name="connsiteX4" fmla="*/ 0 w 3182143"/>
              <a:gd name="connsiteY4" fmla="*/ 461665 h 461665"/>
              <a:gd name="connsiteX0" fmla="*/ 3067452 w 3182143"/>
              <a:gd name="connsiteY0" fmla="*/ 0 h 461665"/>
              <a:gd name="connsiteX1" fmla="*/ 3182143 w 3182143"/>
              <a:gd name="connsiteY1" fmla="*/ 230833 h 461665"/>
              <a:gd name="connsiteX2" fmla="*/ 3067452 w 3182143"/>
              <a:gd name="connsiteY2" fmla="*/ 461665 h 461665"/>
              <a:gd name="connsiteX3" fmla="*/ 0 w 3182143"/>
              <a:gd name="connsiteY3" fmla="*/ 461665 h 461665"/>
            </a:gdLst>
            <a:ahLst/>
            <a:cxnLst>
              <a:cxn ang="0">
                <a:pos x="connsiteX0" y="connsiteY0"/>
              </a:cxn>
              <a:cxn ang="0">
                <a:pos x="connsiteX1" y="connsiteY1"/>
              </a:cxn>
              <a:cxn ang="0">
                <a:pos x="connsiteX2" y="connsiteY2"/>
              </a:cxn>
              <a:cxn ang="0">
                <a:pos x="connsiteX3" y="connsiteY3"/>
              </a:cxn>
            </a:cxnLst>
            <a:rect l="l" t="t" r="r" b="b"/>
            <a:pathLst>
              <a:path w="3182143" h="461665">
                <a:moveTo>
                  <a:pt x="3067452" y="0"/>
                </a:moveTo>
                <a:lnTo>
                  <a:pt x="3182143" y="230833"/>
                </a:lnTo>
                <a:lnTo>
                  <a:pt x="3067452" y="461665"/>
                </a:lnTo>
                <a:lnTo>
                  <a:pt x="0" y="461665"/>
                </a:lnTo>
              </a:path>
            </a:pathLst>
          </a:custGeom>
          <a:noFill/>
          <a:ln w="9525">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91440" bIns="91440" numCol="1" spcCol="0" rtlCol="0" fromWordArt="0" anchor="ctr" anchorCtr="0" forceAA="0" compatLnSpc="1">
            <a:prstTxWarp prst="textNoShape">
              <a:avLst/>
            </a:prstTxWarp>
            <a:spAutoFit/>
          </a:bodyPr>
          <a:lstStyle/>
          <a:p>
            <a:pPr lvl="0" algn="l" rtl="0" fontAlgn="base">
              <a:spcBef>
                <a:spcPct val="0"/>
              </a:spcBef>
              <a:spcAft>
                <a:spcPts val="1200"/>
              </a:spcAft>
              <a:buClr>
                <a:prstClr val="white"/>
              </a:buClr>
              <a:buSzPct val="100000"/>
              <a:defRPr/>
            </a:pPr>
            <a:endParaRPr lang="fr-fr" dirty="0">
              <a:latin typeface="+mj-lt"/>
              <a:ea typeface="Segoe UI" panose="020B0502040204020203" pitchFamily="34" charset="0"/>
              <a:cs typeface="Segoe UI" panose="020B0502040204020203" pitchFamily="34" charset="0"/>
            </a:endParaRPr>
          </a:p>
        </p:txBody>
      </p:sp>
      <p:sp>
        <p:nvSpPr>
          <p:cNvPr id="61" name="Oval 60">
            <a:extLst>
              <a:ext uri="{FF2B5EF4-FFF2-40B4-BE49-F238E27FC236}">
                <a16:creationId xmlns:a16="http://schemas.microsoft.com/office/drawing/2014/main" id="{43886187-AB58-4976-B926-AA2A6457D398}"/>
              </a:ext>
            </a:extLst>
          </p:cNvPr>
          <p:cNvSpPr/>
          <p:nvPr/>
        </p:nvSpPr>
        <p:spPr bwMode="auto">
          <a:xfrm>
            <a:off x="588263" y="1329637"/>
            <a:ext cx="669026" cy="669026"/>
          </a:xfrm>
          <a:prstGeom prst="ellipse">
            <a:avLst/>
          </a:prstGeom>
          <a:solidFill>
            <a:schemeClr val="bg1"/>
          </a:solidFill>
          <a:ln w="6350">
            <a:solidFill>
              <a:srgbClr val="4B53B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62" name="Oval 61">
            <a:extLst>
              <a:ext uri="{FF2B5EF4-FFF2-40B4-BE49-F238E27FC236}">
                <a16:creationId xmlns:a16="http://schemas.microsoft.com/office/drawing/2014/main" id="{6A2710F0-AF01-433A-8CBC-292505A9BCDA}"/>
              </a:ext>
            </a:extLst>
          </p:cNvPr>
          <p:cNvSpPr/>
          <p:nvPr/>
        </p:nvSpPr>
        <p:spPr bwMode="auto">
          <a:xfrm>
            <a:off x="623422" y="1364796"/>
            <a:ext cx="598708" cy="598708"/>
          </a:xfrm>
          <a:prstGeom prst="ellipse">
            <a:avLst/>
          </a:prstGeom>
          <a:solidFill>
            <a:schemeClr val="bg1"/>
          </a:solidFill>
          <a:ln w="3175">
            <a:solidFill>
              <a:schemeClr val="bg1">
                <a:lumMod val="9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114" name="Graphic 147">
            <a:extLst>
              <a:ext uri="{FF2B5EF4-FFF2-40B4-BE49-F238E27FC236}">
                <a16:creationId xmlns:a16="http://schemas.microsoft.com/office/drawing/2014/main" id="{C704674F-D93F-4359-B0AD-45E6579355EA}"/>
              </a:ext>
            </a:extLst>
          </p:cNvPr>
          <p:cNvGrpSpPr>
            <a:grpSpLocks noChangeAspect="1"/>
          </p:cNvGrpSpPr>
          <p:nvPr/>
        </p:nvGrpSpPr>
        <p:grpSpPr>
          <a:xfrm>
            <a:off x="719619" y="1526990"/>
            <a:ext cx="406314" cy="274320"/>
            <a:chOff x="5875431" y="3263994"/>
            <a:chExt cx="684942" cy="462439"/>
          </a:xfrm>
        </p:grpSpPr>
        <p:sp>
          <p:nvSpPr>
            <p:cNvPr id="115" name="Freeform: Shape 114">
              <a:extLst>
                <a:ext uri="{FF2B5EF4-FFF2-40B4-BE49-F238E27FC236}">
                  <a16:creationId xmlns:a16="http://schemas.microsoft.com/office/drawing/2014/main" id="{F22A0D74-6B5B-4019-930C-09FDEF7E3A5E}"/>
                </a:ext>
              </a:extLst>
            </p:cNvPr>
            <p:cNvSpPr/>
            <p:nvPr/>
          </p:nvSpPr>
          <p:spPr>
            <a:xfrm>
              <a:off x="5966776" y="3263994"/>
              <a:ext cx="502253" cy="323659"/>
            </a:xfrm>
            <a:custGeom>
              <a:avLst/>
              <a:gdLst>
                <a:gd name="connsiteX0" fmla="*/ 502253 w 502253"/>
                <a:gd name="connsiteY0" fmla="*/ 323660 h 323659"/>
                <a:gd name="connsiteX1" fmla="*/ 0 w 502253"/>
                <a:gd name="connsiteY1" fmla="*/ 323660 h 323659"/>
                <a:gd name="connsiteX2" fmla="*/ 0 w 502253"/>
                <a:gd name="connsiteY2" fmla="*/ 0 h 323659"/>
                <a:gd name="connsiteX3" fmla="*/ 502253 w 502253"/>
                <a:gd name="connsiteY3" fmla="*/ 0 h 323659"/>
                <a:gd name="connsiteX4" fmla="*/ 502253 w 502253"/>
                <a:gd name="connsiteY4" fmla="*/ 323660 h 323659"/>
                <a:gd name="connsiteX5" fmla="*/ 502253 w 502253"/>
                <a:gd name="connsiteY5" fmla="*/ 323660 h 323659"/>
                <a:gd name="connsiteX6" fmla="*/ 502253 w 502253"/>
                <a:gd name="connsiteY6" fmla="*/ 323660 h 32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253" h="323659">
                  <a:moveTo>
                    <a:pt x="502253" y="323660"/>
                  </a:moveTo>
                  <a:cubicBezTo>
                    <a:pt x="0" y="323660"/>
                    <a:pt x="0" y="323660"/>
                    <a:pt x="0" y="323660"/>
                  </a:cubicBezTo>
                  <a:cubicBezTo>
                    <a:pt x="0" y="0"/>
                    <a:pt x="0" y="0"/>
                    <a:pt x="0" y="0"/>
                  </a:cubicBezTo>
                  <a:cubicBezTo>
                    <a:pt x="502253" y="0"/>
                    <a:pt x="502253" y="0"/>
                    <a:pt x="502253" y="0"/>
                  </a:cubicBezTo>
                  <a:lnTo>
                    <a:pt x="502253" y="323660"/>
                  </a:lnTo>
                  <a:lnTo>
                    <a:pt x="502253" y="323660"/>
                  </a:lnTo>
                  <a:lnTo>
                    <a:pt x="502253" y="323660"/>
                  </a:lnTo>
                  <a:close/>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endParaRPr lang="fr-fr" dirty="0">
                <a:cs typeface="Segoe UI"/>
              </a:endParaRPr>
            </a:p>
          </p:txBody>
        </p:sp>
        <p:sp>
          <p:nvSpPr>
            <p:cNvPr id="116" name="Freeform: Shape 115">
              <a:extLst>
                <a:ext uri="{FF2B5EF4-FFF2-40B4-BE49-F238E27FC236}">
                  <a16:creationId xmlns:a16="http://schemas.microsoft.com/office/drawing/2014/main" id="{CE694BEB-84E9-4191-8D2D-12E2732F0777}"/>
                </a:ext>
              </a:extLst>
            </p:cNvPr>
            <p:cNvSpPr/>
            <p:nvPr/>
          </p:nvSpPr>
          <p:spPr>
            <a:xfrm>
              <a:off x="5875431" y="3587749"/>
              <a:ext cx="684942" cy="138684"/>
            </a:xfrm>
            <a:custGeom>
              <a:avLst/>
              <a:gdLst>
                <a:gd name="connsiteX0" fmla="*/ 0 w 684942"/>
                <a:gd name="connsiteY0" fmla="*/ 115538 h 138684"/>
                <a:gd name="connsiteX1" fmla="*/ 22860 w 684942"/>
                <a:gd name="connsiteY1" fmla="*/ 138684 h 138684"/>
                <a:gd name="connsiteX2" fmla="*/ 662083 w 684942"/>
                <a:gd name="connsiteY2" fmla="*/ 138684 h 138684"/>
                <a:gd name="connsiteX3" fmla="*/ 684943 w 684942"/>
                <a:gd name="connsiteY3" fmla="*/ 115538 h 138684"/>
                <a:gd name="connsiteX4" fmla="*/ 673608 w 684942"/>
                <a:gd name="connsiteY4" fmla="*/ 80772 h 138684"/>
                <a:gd name="connsiteX5" fmla="*/ 593598 w 684942"/>
                <a:gd name="connsiteY5" fmla="*/ 0 h 138684"/>
                <a:gd name="connsiteX6" fmla="*/ 91345 w 684942"/>
                <a:gd name="connsiteY6" fmla="*/ 0 h 138684"/>
                <a:gd name="connsiteX7" fmla="*/ 11525 w 684942"/>
                <a:gd name="connsiteY7" fmla="*/ 80772 h 138684"/>
                <a:gd name="connsiteX8" fmla="*/ 0 w 684942"/>
                <a:gd name="connsiteY8" fmla="*/ 115538 h 138684"/>
                <a:gd name="connsiteX9" fmla="*/ 0 w 684942"/>
                <a:gd name="connsiteY9" fmla="*/ 115538 h 138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4942" h="138684">
                  <a:moveTo>
                    <a:pt x="0" y="115538"/>
                  </a:moveTo>
                  <a:cubicBezTo>
                    <a:pt x="0" y="128302"/>
                    <a:pt x="10192" y="138684"/>
                    <a:pt x="22860" y="138684"/>
                  </a:cubicBezTo>
                  <a:cubicBezTo>
                    <a:pt x="662083" y="138684"/>
                    <a:pt x="662083" y="138684"/>
                    <a:pt x="662083" y="138684"/>
                  </a:cubicBezTo>
                  <a:cubicBezTo>
                    <a:pt x="674656" y="138684"/>
                    <a:pt x="684943" y="128302"/>
                    <a:pt x="684943" y="115538"/>
                  </a:cubicBezTo>
                  <a:cubicBezTo>
                    <a:pt x="684943" y="102013"/>
                    <a:pt x="680561" y="89630"/>
                    <a:pt x="673608" y="80772"/>
                  </a:cubicBezTo>
                  <a:cubicBezTo>
                    <a:pt x="593598" y="0"/>
                    <a:pt x="593598" y="0"/>
                    <a:pt x="593598" y="0"/>
                  </a:cubicBezTo>
                  <a:cubicBezTo>
                    <a:pt x="91345" y="0"/>
                    <a:pt x="91345" y="0"/>
                    <a:pt x="91345" y="0"/>
                  </a:cubicBezTo>
                  <a:cubicBezTo>
                    <a:pt x="11525" y="80772"/>
                    <a:pt x="11525" y="80772"/>
                    <a:pt x="11525" y="80772"/>
                  </a:cubicBezTo>
                  <a:cubicBezTo>
                    <a:pt x="4382" y="89630"/>
                    <a:pt x="0" y="102013"/>
                    <a:pt x="0" y="115538"/>
                  </a:cubicBezTo>
                  <a:lnTo>
                    <a:pt x="0" y="115538"/>
                  </a:lnTo>
                  <a:close/>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endParaRPr lang="fr-fr" dirty="0">
                <a:cs typeface="Segoe UI"/>
              </a:endParaRPr>
            </a:p>
          </p:txBody>
        </p:sp>
        <p:sp>
          <p:nvSpPr>
            <p:cNvPr id="117" name="Freeform: Shape 116">
              <a:extLst>
                <a:ext uri="{FF2B5EF4-FFF2-40B4-BE49-F238E27FC236}">
                  <a16:creationId xmlns:a16="http://schemas.microsoft.com/office/drawing/2014/main" id="{B34AE16D-9D6A-4702-91F6-163E4244AEE4}"/>
                </a:ext>
              </a:extLst>
            </p:cNvPr>
            <p:cNvSpPr/>
            <p:nvPr/>
          </p:nvSpPr>
          <p:spPr>
            <a:xfrm>
              <a:off x="6253479" y="3404583"/>
              <a:ext cx="167449" cy="9525"/>
            </a:xfrm>
            <a:custGeom>
              <a:avLst/>
              <a:gdLst>
                <a:gd name="connsiteX0" fmla="*/ 0 w 167449"/>
                <a:gd name="connsiteY0" fmla="*/ 0 h 9525"/>
                <a:gd name="connsiteX1" fmla="*/ 167449 w 167449"/>
                <a:gd name="connsiteY1" fmla="*/ 0 h 9525"/>
              </a:gdLst>
              <a:ahLst/>
              <a:cxnLst>
                <a:cxn ang="0">
                  <a:pos x="connsiteX0" y="connsiteY0"/>
                </a:cxn>
                <a:cxn ang="0">
                  <a:pos x="connsiteX1" y="connsiteY1"/>
                </a:cxn>
              </a:cxnLst>
              <a:rect l="l" t="t" r="r" b="b"/>
              <a:pathLst>
                <a:path w="167449" h="9525">
                  <a:moveTo>
                    <a:pt x="0" y="0"/>
                  </a:moveTo>
                  <a:lnTo>
                    <a:pt x="167449" y="0"/>
                  </a:lnTo>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endParaRPr lang="fr-fr" dirty="0">
                <a:cs typeface="Segoe UI"/>
              </a:endParaRPr>
            </a:p>
          </p:txBody>
        </p:sp>
        <p:sp>
          <p:nvSpPr>
            <p:cNvPr id="118" name="Freeform: Shape 117">
              <a:extLst>
                <a:ext uri="{FF2B5EF4-FFF2-40B4-BE49-F238E27FC236}">
                  <a16:creationId xmlns:a16="http://schemas.microsoft.com/office/drawing/2014/main" id="{9897E64C-B84C-401D-821A-66E375D5A409}"/>
                </a:ext>
              </a:extLst>
            </p:cNvPr>
            <p:cNvSpPr/>
            <p:nvPr/>
          </p:nvSpPr>
          <p:spPr>
            <a:xfrm>
              <a:off x="6332346" y="3348862"/>
              <a:ext cx="88582" cy="9525"/>
            </a:xfrm>
            <a:custGeom>
              <a:avLst/>
              <a:gdLst>
                <a:gd name="connsiteX0" fmla="*/ 0 w 88582"/>
                <a:gd name="connsiteY0" fmla="*/ 0 h 9525"/>
                <a:gd name="connsiteX1" fmla="*/ 88582 w 88582"/>
                <a:gd name="connsiteY1" fmla="*/ 0 h 9525"/>
              </a:gdLst>
              <a:ahLst/>
              <a:cxnLst>
                <a:cxn ang="0">
                  <a:pos x="connsiteX0" y="connsiteY0"/>
                </a:cxn>
                <a:cxn ang="0">
                  <a:pos x="connsiteX1" y="connsiteY1"/>
                </a:cxn>
              </a:cxnLst>
              <a:rect l="l" t="t" r="r" b="b"/>
              <a:pathLst>
                <a:path w="88582" h="9525">
                  <a:moveTo>
                    <a:pt x="0" y="0"/>
                  </a:moveTo>
                  <a:lnTo>
                    <a:pt x="88582" y="0"/>
                  </a:lnTo>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endParaRPr lang="fr-fr" dirty="0">
                <a:cs typeface="Segoe UI"/>
              </a:endParaRPr>
            </a:p>
          </p:txBody>
        </p:sp>
        <p:sp>
          <p:nvSpPr>
            <p:cNvPr id="119" name="Freeform: Shape 118">
              <a:extLst>
                <a:ext uri="{FF2B5EF4-FFF2-40B4-BE49-F238E27FC236}">
                  <a16:creationId xmlns:a16="http://schemas.microsoft.com/office/drawing/2014/main" id="{EF8AFA9A-17D7-404B-B402-EAE389E538CF}"/>
                </a:ext>
              </a:extLst>
            </p:cNvPr>
            <p:cNvSpPr/>
            <p:nvPr/>
          </p:nvSpPr>
          <p:spPr>
            <a:xfrm>
              <a:off x="6253479" y="3460209"/>
              <a:ext cx="167449" cy="9525"/>
            </a:xfrm>
            <a:custGeom>
              <a:avLst/>
              <a:gdLst>
                <a:gd name="connsiteX0" fmla="*/ 0 w 167449"/>
                <a:gd name="connsiteY0" fmla="*/ 0 h 9525"/>
                <a:gd name="connsiteX1" fmla="*/ 167449 w 167449"/>
                <a:gd name="connsiteY1" fmla="*/ 0 h 9525"/>
              </a:gdLst>
              <a:ahLst/>
              <a:cxnLst>
                <a:cxn ang="0">
                  <a:pos x="connsiteX0" y="connsiteY0"/>
                </a:cxn>
                <a:cxn ang="0">
                  <a:pos x="connsiteX1" y="connsiteY1"/>
                </a:cxn>
              </a:cxnLst>
              <a:rect l="l" t="t" r="r" b="b"/>
              <a:pathLst>
                <a:path w="167449" h="9525">
                  <a:moveTo>
                    <a:pt x="0" y="0"/>
                  </a:moveTo>
                  <a:lnTo>
                    <a:pt x="167449" y="0"/>
                  </a:lnTo>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endParaRPr lang="fr-fr" dirty="0">
                <a:cs typeface="Segoe UI"/>
              </a:endParaRPr>
            </a:p>
          </p:txBody>
        </p:sp>
        <p:sp>
          <p:nvSpPr>
            <p:cNvPr id="120" name="Freeform: Shape 119">
              <a:extLst>
                <a:ext uri="{FF2B5EF4-FFF2-40B4-BE49-F238E27FC236}">
                  <a16:creationId xmlns:a16="http://schemas.microsoft.com/office/drawing/2014/main" id="{DE9D5881-3DFF-4A8B-BBCF-F14185CADB44}"/>
                </a:ext>
              </a:extLst>
            </p:cNvPr>
            <p:cNvSpPr/>
            <p:nvPr/>
          </p:nvSpPr>
          <p:spPr>
            <a:xfrm>
              <a:off x="6253479" y="3515835"/>
              <a:ext cx="167449" cy="9525"/>
            </a:xfrm>
            <a:custGeom>
              <a:avLst/>
              <a:gdLst>
                <a:gd name="connsiteX0" fmla="*/ 0 w 167449"/>
                <a:gd name="connsiteY0" fmla="*/ 0 h 9525"/>
                <a:gd name="connsiteX1" fmla="*/ 167449 w 167449"/>
                <a:gd name="connsiteY1" fmla="*/ 0 h 9525"/>
              </a:gdLst>
              <a:ahLst/>
              <a:cxnLst>
                <a:cxn ang="0">
                  <a:pos x="connsiteX0" y="connsiteY0"/>
                </a:cxn>
                <a:cxn ang="0">
                  <a:pos x="connsiteX1" y="connsiteY1"/>
                </a:cxn>
              </a:cxnLst>
              <a:rect l="l" t="t" r="r" b="b"/>
              <a:pathLst>
                <a:path w="167449" h="9525">
                  <a:moveTo>
                    <a:pt x="0" y="0"/>
                  </a:moveTo>
                  <a:lnTo>
                    <a:pt x="167449" y="0"/>
                  </a:lnTo>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endParaRPr lang="fr-fr" dirty="0">
                <a:cs typeface="Segoe UI"/>
              </a:endParaRPr>
            </a:p>
          </p:txBody>
        </p:sp>
      </p:grpSp>
      <p:sp>
        <p:nvSpPr>
          <p:cNvPr id="84" name="Arrow: Chevron 83">
            <a:extLst>
              <a:ext uri="{FF2B5EF4-FFF2-40B4-BE49-F238E27FC236}">
                <a16:creationId xmlns:a16="http://schemas.microsoft.com/office/drawing/2014/main" id="{215D37B4-00C3-4E45-9E71-EDAB92E89EEF}"/>
              </a:ext>
            </a:extLst>
          </p:cNvPr>
          <p:cNvSpPr/>
          <p:nvPr/>
        </p:nvSpPr>
        <p:spPr bwMode="auto">
          <a:xfrm>
            <a:off x="4815698" y="1417929"/>
            <a:ext cx="3064034" cy="492443"/>
          </a:xfrm>
          <a:prstGeom prst="chevron">
            <a:avLst>
              <a:gd name="adj" fmla="val 25105"/>
            </a:avLst>
          </a:prstGeom>
          <a:solidFill>
            <a:schemeClr val="bg1"/>
          </a:solidFill>
          <a:ln>
            <a:noFill/>
            <a:headEnd type="none" w="med" len="med"/>
            <a:tailEnd type="none" w="med" len="med"/>
          </a:ln>
          <a:effectLst>
            <a:outerShdw dist="38100" algn="l" rotWithShape="0">
              <a:schemeClr val="bg1">
                <a:lumMod val="9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91440" bIns="91440" numCol="1" spcCol="0" rtlCol="0" fromWordArt="0" anchor="ctr" anchorCtr="0" forceAA="0" compatLnSpc="1">
            <a:prstTxWarp prst="textNoShape">
              <a:avLst/>
            </a:prstTxWarp>
            <a:spAutoFit/>
          </a:bodyPr>
          <a:lstStyle/>
          <a:p>
            <a:pPr algn="l" rtl="0" fontAlgn="base">
              <a:spcBef>
                <a:spcPct val="0"/>
              </a:spcBef>
              <a:spcAft>
                <a:spcPts val="1200"/>
              </a:spcAft>
              <a:buClr>
                <a:prstClr val="white"/>
              </a:buClr>
              <a:buSzPct val="100000"/>
            </a:pPr>
            <a:r>
              <a:rPr lang="fr-fr" sz="2000" b="0" i="0" u="none" baseline="0" dirty="0">
                <a:solidFill>
                  <a:srgbClr val="4B53BC"/>
                </a:solidFill>
                <a:latin typeface="+mj-lt"/>
                <a:cs typeface="Segoe UI"/>
              </a:rPr>
              <a:t>OBTENEZ DE L</a:t>
            </a:r>
            <a:r>
              <a:rPr lang="fr-FR" sz="2000" b="0" i="0" u="none" baseline="0" dirty="0">
                <a:solidFill>
                  <a:srgbClr val="4B53BC"/>
                </a:solidFill>
                <a:latin typeface="+mj-lt"/>
                <a:cs typeface="Segoe UI"/>
              </a:rPr>
              <a:t>’</a:t>
            </a:r>
            <a:r>
              <a:rPr lang="fr-fr" sz="2000" b="0" i="0" u="none" baseline="0" dirty="0">
                <a:solidFill>
                  <a:srgbClr val="4B53BC"/>
                </a:solidFill>
                <a:latin typeface="+mj-lt"/>
                <a:cs typeface="Segoe UI"/>
              </a:rPr>
              <a:t>AIDE</a:t>
            </a:r>
          </a:p>
        </p:txBody>
      </p:sp>
      <p:sp>
        <p:nvSpPr>
          <p:cNvPr id="95" name="Arrow: Pentagon 65">
            <a:extLst>
              <a:ext uri="{FF2B5EF4-FFF2-40B4-BE49-F238E27FC236}">
                <a16:creationId xmlns:a16="http://schemas.microsoft.com/office/drawing/2014/main" id="{5020A6DF-C6AE-41E9-8705-5184E112923A}"/>
              </a:ext>
            </a:extLst>
          </p:cNvPr>
          <p:cNvSpPr/>
          <p:nvPr/>
        </p:nvSpPr>
        <p:spPr bwMode="auto">
          <a:xfrm>
            <a:off x="4815698" y="1433318"/>
            <a:ext cx="3064034" cy="461665"/>
          </a:xfrm>
          <a:custGeom>
            <a:avLst/>
            <a:gdLst>
              <a:gd name="connsiteX0" fmla="*/ 0 w 3182143"/>
              <a:gd name="connsiteY0" fmla="*/ 0 h 461665"/>
              <a:gd name="connsiteX1" fmla="*/ 3067452 w 3182143"/>
              <a:gd name="connsiteY1" fmla="*/ 0 h 461665"/>
              <a:gd name="connsiteX2" fmla="*/ 3182143 w 3182143"/>
              <a:gd name="connsiteY2" fmla="*/ 230833 h 461665"/>
              <a:gd name="connsiteX3" fmla="*/ 3067452 w 3182143"/>
              <a:gd name="connsiteY3" fmla="*/ 461665 h 461665"/>
              <a:gd name="connsiteX4" fmla="*/ 0 w 3182143"/>
              <a:gd name="connsiteY4" fmla="*/ 461665 h 461665"/>
              <a:gd name="connsiteX5" fmla="*/ 0 w 3182143"/>
              <a:gd name="connsiteY5" fmla="*/ 0 h 461665"/>
              <a:gd name="connsiteX0" fmla="*/ 0 w 3182143"/>
              <a:gd name="connsiteY0" fmla="*/ 0 h 461665"/>
              <a:gd name="connsiteX1" fmla="*/ 3067452 w 3182143"/>
              <a:gd name="connsiteY1" fmla="*/ 0 h 461665"/>
              <a:gd name="connsiteX2" fmla="*/ 3182143 w 3182143"/>
              <a:gd name="connsiteY2" fmla="*/ 230833 h 461665"/>
              <a:gd name="connsiteX3" fmla="*/ 3067452 w 3182143"/>
              <a:gd name="connsiteY3" fmla="*/ 461665 h 461665"/>
              <a:gd name="connsiteX4" fmla="*/ 0 w 3182143"/>
              <a:gd name="connsiteY4" fmla="*/ 461665 h 461665"/>
              <a:gd name="connsiteX5" fmla="*/ 91440 w 3182143"/>
              <a:gd name="connsiteY5" fmla="*/ 91440 h 461665"/>
              <a:gd name="connsiteX0" fmla="*/ 0 w 3182143"/>
              <a:gd name="connsiteY0" fmla="*/ 0 h 461665"/>
              <a:gd name="connsiteX1" fmla="*/ 3067452 w 3182143"/>
              <a:gd name="connsiteY1" fmla="*/ 0 h 461665"/>
              <a:gd name="connsiteX2" fmla="*/ 3182143 w 3182143"/>
              <a:gd name="connsiteY2" fmla="*/ 230833 h 461665"/>
              <a:gd name="connsiteX3" fmla="*/ 3067452 w 3182143"/>
              <a:gd name="connsiteY3" fmla="*/ 461665 h 461665"/>
              <a:gd name="connsiteX4" fmla="*/ 0 w 3182143"/>
              <a:gd name="connsiteY4" fmla="*/ 461665 h 461665"/>
              <a:gd name="connsiteX0" fmla="*/ 3067452 w 3182143"/>
              <a:gd name="connsiteY0" fmla="*/ 0 h 461665"/>
              <a:gd name="connsiteX1" fmla="*/ 3182143 w 3182143"/>
              <a:gd name="connsiteY1" fmla="*/ 230833 h 461665"/>
              <a:gd name="connsiteX2" fmla="*/ 3067452 w 3182143"/>
              <a:gd name="connsiteY2" fmla="*/ 461665 h 461665"/>
              <a:gd name="connsiteX3" fmla="*/ 0 w 3182143"/>
              <a:gd name="connsiteY3" fmla="*/ 461665 h 461665"/>
            </a:gdLst>
            <a:ahLst/>
            <a:cxnLst>
              <a:cxn ang="0">
                <a:pos x="connsiteX0" y="connsiteY0"/>
              </a:cxn>
              <a:cxn ang="0">
                <a:pos x="connsiteX1" y="connsiteY1"/>
              </a:cxn>
              <a:cxn ang="0">
                <a:pos x="connsiteX2" y="connsiteY2"/>
              </a:cxn>
              <a:cxn ang="0">
                <a:pos x="connsiteX3" y="connsiteY3"/>
              </a:cxn>
            </a:cxnLst>
            <a:rect l="l" t="t" r="r" b="b"/>
            <a:pathLst>
              <a:path w="3182143" h="461665">
                <a:moveTo>
                  <a:pt x="3067452" y="0"/>
                </a:moveTo>
                <a:lnTo>
                  <a:pt x="3182143" y="230833"/>
                </a:lnTo>
                <a:lnTo>
                  <a:pt x="3067452" y="461665"/>
                </a:lnTo>
                <a:lnTo>
                  <a:pt x="0" y="461665"/>
                </a:lnTo>
              </a:path>
            </a:pathLst>
          </a:custGeom>
          <a:noFill/>
          <a:ln w="9525">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91440" bIns="91440" numCol="1" spcCol="0" rtlCol="0" fromWordArt="0" anchor="ctr" anchorCtr="0" forceAA="0" compatLnSpc="1">
            <a:prstTxWarp prst="textNoShape">
              <a:avLst/>
            </a:prstTxWarp>
            <a:spAutoFit/>
          </a:bodyPr>
          <a:lstStyle/>
          <a:p>
            <a:pPr lvl="0" algn="l" rtl="0" fontAlgn="base">
              <a:spcBef>
                <a:spcPct val="0"/>
              </a:spcBef>
              <a:spcAft>
                <a:spcPts val="1200"/>
              </a:spcAft>
              <a:buClr>
                <a:prstClr val="white"/>
              </a:buClr>
              <a:buSzPct val="100000"/>
              <a:defRPr/>
            </a:pPr>
            <a:endParaRPr lang="fr-fr" dirty="0">
              <a:latin typeface="+mj-lt"/>
              <a:ea typeface="Segoe UI" panose="020B0502040204020203" pitchFamily="34" charset="0"/>
              <a:cs typeface="Segoe UI" panose="020B0502040204020203" pitchFamily="34" charset="0"/>
            </a:endParaRPr>
          </a:p>
        </p:txBody>
      </p:sp>
      <p:sp>
        <p:nvSpPr>
          <p:cNvPr id="87" name="Oval 86">
            <a:extLst>
              <a:ext uri="{FF2B5EF4-FFF2-40B4-BE49-F238E27FC236}">
                <a16:creationId xmlns:a16="http://schemas.microsoft.com/office/drawing/2014/main" id="{9013F336-B854-4262-A4FE-394DC89CD4D6}"/>
              </a:ext>
            </a:extLst>
          </p:cNvPr>
          <p:cNvSpPr/>
          <p:nvPr/>
        </p:nvSpPr>
        <p:spPr bwMode="auto">
          <a:xfrm>
            <a:off x="4303713" y="1329637"/>
            <a:ext cx="669026" cy="669026"/>
          </a:xfrm>
          <a:prstGeom prst="ellipse">
            <a:avLst/>
          </a:prstGeom>
          <a:solidFill>
            <a:schemeClr val="bg1"/>
          </a:solidFill>
          <a:ln w="6350">
            <a:solidFill>
              <a:srgbClr val="4B53B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88" name="Oval 87">
            <a:extLst>
              <a:ext uri="{FF2B5EF4-FFF2-40B4-BE49-F238E27FC236}">
                <a16:creationId xmlns:a16="http://schemas.microsoft.com/office/drawing/2014/main" id="{8AC30E0F-84B3-408A-B908-927E20492177}"/>
              </a:ext>
            </a:extLst>
          </p:cNvPr>
          <p:cNvSpPr/>
          <p:nvPr/>
        </p:nvSpPr>
        <p:spPr bwMode="auto">
          <a:xfrm>
            <a:off x="4338872" y="1364796"/>
            <a:ext cx="598708" cy="598708"/>
          </a:xfrm>
          <a:prstGeom prst="ellipse">
            <a:avLst/>
          </a:prstGeom>
          <a:solidFill>
            <a:schemeClr val="bg1"/>
          </a:solidFill>
          <a:ln w="3175">
            <a:solidFill>
              <a:schemeClr val="bg1">
                <a:lumMod val="9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21" name="Commitments_EC4D" title="Icon of a handshake">
            <a:extLst>
              <a:ext uri="{FF2B5EF4-FFF2-40B4-BE49-F238E27FC236}">
                <a16:creationId xmlns:a16="http://schemas.microsoft.com/office/drawing/2014/main" id="{B5326DFC-D321-46F0-96D5-ECE1907FDE22}"/>
              </a:ext>
            </a:extLst>
          </p:cNvPr>
          <p:cNvSpPr>
            <a:spLocks noChangeAspect="1" noEditPoints="1"/>
          </p:cNvSpPr>
          <p:nvPr/>
        </p:nvSpPr>
        <p:spPr bwMode="auto">
          <a:xfrm>
            <a:off x="4442306" y="1480450"/>
            <a:ext cx="391842" cy="36740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90" name="Arrow: Chevron 89">
            <a:extLst>
              <a:ext uri="{FF2B5EF4-FFF2-40B4-BE49-F238E27FC236}">
                <a16:creationId xmlns:a16="http://schemas.microsoft.com/office/drawing/2014/main" id="{0CFB8254-E8E1-4667-8819-20FDD69BC2A6}"/>
              </a:ext>
            </a:extLst>
          </p:cNvPr>
          <p:cNvSpPr/>
          <p:nvPr/>
        </p:nvSpPr>
        <p:spPr bwMode="auto">
          <a:xfrm>
            <a:off x="8524491" y="1417929"/>
            <a:ext cx="3329160" cy="492443"/>
          </a:xfrm>
          <a:prstGeom prst="chevron">
            <a:avLst>
              <a:gd name="adj" fmla="val 25105"/>
            </a:avLst>
          </a:prstGeom>
          <a:solidFill>
            <a:schemeClr val="bg1"/>
          </a:solidFill>
          <a:ln>
            <a:noFill/>
            <a:headEnd type="none" w="med" len="med"/>
            <a:tailEnd type="none" w="med" len="med"/>
          </a:ln>
          <a:effectLst>
            <a:outerShdw dist="38100" algn="l" rotWithShape="0">
              <a:schemeClr val="bg1">
                <a:lumMod val="9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91440" bIns="91440" numCol="1" spcCol="0" rtlCol="0" fromWordArt="0" anchor="ctr" anchorCtr="0" forceAA="0" compatLnSpc="1">
            <a:prstTxWarp prst="textNoShape">
              <a:avLst/>
            </a:prstTxWarp>
            <a:spAutoFit/>
          </a:bodyPr>
          <a:lstStyle/>
          <a:p>
            <a:pPr algn="l" rtl="0" fontAlgn="base">
              <a:spcBef>
                <a:spcPct val="0"/>
              </a:spcBef>
              <a:spcAft>
                <a:spcPts val="1200"/>
              </a:spcAft>
              <a:buClr>
                <a:prstClr val="white"/>
              </a:buClr>
              <a:buSzPct val="100000"/>
            </a:pPr>
            <a:r>
              <a:rPr lang="fr-fr" sz="2000" b="0" i="0" u="none" baseline="0" dirty="0">
                <a:solidFill>
                  <a:srgbClr val="4B53BC"/>
                </a:solidFill>
                <a:latin typeface="+mj-lt"/>
                <a:cs typeface="Segoe UI"/>
              </a:rPr>
              <a:t>DONNEZ VOTRE AVIS</a:t>
            </a:r>
          </a:p>
        </p:txBody>
      </p:sp>
      <p:sp>
        <p:nvSpPr>
          <p:cNvPr id="96" name="Arrow: Pentagon 65">
            <a:extLst>
              <a:ext uri="{FF2B5EF4-FFF2-40B4-BE49-F238E27FC236}">
                <a16:creationId xmlns:a16="http://schemas.microsoft.com/office/drawing/2014/main" id="{2A17BB63-C0FE-4453-B42E-066904785D9A}"/>
              </a:ext>
            </a:extLst>
          </p:cNvPr>
          <p:cNvSpPr/>
          <p:nvPr/>
        </p:nvSpPr>
        <p:spPr bwMode="auto">
          <a:xfrm>
            <a:off x="8656843" y="1433318"/>
            <a:ext cx="3064034" cy="461665"/>
          </a:xfrm>
          <a:custGeom>
            <a:avLst/>
            <a:gdLst>
              <a:gd name="connsiteX0" fmla="*/ 0 w 3182143"/>
              <a:gd name="connsiteY0" fmla="*/ 0 h 461665"/>
              <a:gd name="connsiteX1" fmla="*/ 3067452 w 3182143"/>
              <a:gd name="connsiteY1" fmla="*/ 0 h 461665"/>
              <a:gd name="connsiteX2" fmla="*/ 3182143 w 3182143"/>
              <a:gd name="connsiteY2" fmla="*/ 230833 h 461665"/>
              <a:gd name="connsiteX3" fmla="*/ 3067452 w 3182143"/>
              <a:gd name="connsiteY3" fmla="*/ 461665 h 461665"/>
              <a:gd name="connsiteX4" fmla="*/ 0 w 3182143"/>
              <a:gd name="connsiteY4" fmla="*/ 461665 h 461665"/>
              <a:gd name="connsiteX5" fmla="*/ 0 w 3182143"/>
              <a:gd name="connsiteY5" fmla="*/ 0 h 461665"/>
              <a:gd name="connsiteX0" fmla="*/ 0 w 3182143"/>
              <a:gd name="connsiteY0" fmla="*/ 0 h 461665"/>
              <a:gd name="connsiteX1" fmla="*/ 3067452 w 3182143"/>
              <a:gd name="connsiteY1" fmla="*/ 0 h 461665"/>
              <a:gd name="connsiteX2" fmla="*/ 3182143 w 3182143"/>
              <a:gd name="connsiteY2" fmla="*/ 230833 h 461665"/>
              <a:gd name="connsiteX3" fmla="*/ 3067452 w 3182143"/>
              <a:gd name="connsiteY3" fmla="*/ 461665 h 461665"/>
              <a:gd name="connsiteX4" fmla="*/ 0 w 3182143"/>
              <a:gd name="connsiteY4" fmla="*/ 461665 h 461665"/>
              <a:gd name="connsiteX5" fmla="*/ 91440 w 3182143"/>
              <a:gd name="connsiteY5" fmla="*/ 91440 h 461665"/>
              <a:gd name="connsiteX0" fmla="*/ 0 w 3182143"/>
              <a:gd name="connsiteY0" fmla="*/ 0 h 461665"/>
              <a:gd name="connsiteX1" fmla="*/ 3067452 w 3182143"/>
              <a:gd name="connsiteY1" fmla="*/ 0 h 461665"/>
              <a:gd name="connsiteX2" fmla="*/ 3182143 w 3182143"/>
              <a:gd name="connsiteY2" fmla="*/ 230833 h 461665"/>
              <a:gd name="connsiteX3" fmla="*/ 3067452 w 3182143"/>
              <a:gd name="connsiteY3" fmla="*/ 461665 h 461665"/>
              <a:gd name="connsiteX4" fmla="*/ 0 w 3182143"/>
              <a:gd name="connsiteY4" fmla="*/ 461665 h 461665"/>
              <a:gd name="connsiteX0" fmla="*/ 3067452 w 3182143"/>
              <a:gd name="connsiteY0" fmla="*/ 0 h 461665"/>
              <a:gd name="connsiteX1" fmla="*/ 3182143 w 3182143"/>
              <a:gd name="connsiteY1" fmla="*/ 230833 h 461665"/>
              <a:gd name="connsiteX2" fmla="*/ 3067452 w 3182143"/>
              <a:gd name="connsiteY2" fmla="*/ 461665 h 461665"/>
              <a:gd name="connsiteX3" fmla="*/ 0 w 3182143"/>
              <a:gd name="connsiteY3" fmla="*/ 461665 h 461665"/>
            </a:gdLst>
            <a:ahLst/>
            <a:cxnLst>
              <a:cxn ang="0">
                <a:pos x="connsiteX0" y="connsiteY0"/>
              </a:cxn>
              <a:cxn ang="0">
                <a:pos x="connsiteX1" y="connsiteY1"/>
              </a:cxn>
              <a:cxn ang="0">
                <a:pos x="connsiteX2" y="connsiteY2"/>
              </a:cxn>
              <a:cxn ang="0">
                <a:pos x="connsiteX3" y="connsiteY3"/>
              </a:cxn>
            </a:cxnLst>
            <a:rect l="l" t="t" r="r" b="b"/>
            <a:pathLst>
              <a:path w="3182143" h="461665">
                <a:moveTo>
                  <a:pt x="3067452" y="0"/>
                </a:moveTo>
                <a:lnTo>
                  <a:pt x="3182143" y="230833"/>
                </a:lnTo>
                <a:lnTo>
                  <a:pt x="3067452" y="461665"/>
                </a:lnTo>
                <a:lnTo>
                  <a:pt x="0" y="461665"/>
                </a:lnTo>
              </a:path>
            </a:pathLst>
          </a:custGeom>
          <a:noFill/>
          <a:ln w="9525">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91440" bIns="91440" numCol="1" spcCol="0" rtlCol="0" fromWordArt="0" anchor="ctr" anchorCtr="0" forceAA="0" compatLnSpc="1">
            <a:prstTxWarp prst="textNoShape">
              <a:avLst/>
            </a:prstTxWarp>
            <a:spAutoFit/>
          </a:bodyPr>
          <a:lstStyle/>
          <a:p>
            <a:pPr lvl="0" algn="l" rtl="0" fontAlgn="base">
              <a:spcBef>
                <a:spcPct val="0"/>
              </a:spcBef>
              <a:spcAft>
                <a:spcPts val="1200"/>
              </a:spcAft>
              <a:buClr>
                <a:prstClr val="white"/>
              </a:buClr>
              <a:buSzPct val="100000"/>
              <a:defRPr/>
            </a:pPr>
            <a:endParaRPr lang="fr-fr" dirty="0">
              <a:latin typeface="+mj-lt"/>
              <a:ea typeface="Segoe UI" panose="020B0502040204020203" pitchFamily="34" charset="0"/>
              <a:cs typeface="Segoe UI" panose="020B0502040204020203" pitchFamily="34" charset="0"/>
            </a:endParaRPr>
          </a:p>
        </p:txBody>
      </p:sp>
      <p:sp>
        <p:nvSpPr>
          <p:cNvPr id="92" name="Oval 91">
            <a:extLst>
              <a:ext uri="{FF2B5EF4-FFF2-40B4-BE49-F238E27FC236}">
                <a16:creationId xmlns:a16="http://schemas.microsoft.com/office/drawing/2014/main" id="{18641B33-69EB-46FE-BE98-6EB153253C49}"/>
              </a:ext>
            </a:extLst>
          </p:cNvPr>
          <p:cNvSpPr/>
          <p:nvPr/>
        </p:nvSpPr>
        <p:spPr bwMode="auto">
          <a:xfrm>
            <a:off x="8144858" y="1329637"/>
            <a:ext cx="669026" cy="669026"/>
          </a:xfrm>
          <a:prstGeom prst="ellipse">
            <a:avLst/>
          </a:prstGeom>
          <a:solidFill>
            <a:schemeClr val="bg1"/>
          </a:solidFill>
          <a:ln w="6350">
            <a:solidFill>
              <a:srgbClr val="4B53B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93" name="Oval 92">
            <a:extLst>
              <a:ext uri="{FF2B5EF4-FFF2-40B4-BE49-F238E27FC236}">
                <a16:creationId xmlns:a16="http://schemas.microsoft.com/office/drawing/2014/main" id="{33E20030-DCBB-49CC-A877-6EB83742764C}"/>
              </a:ext>
            </a:extLst>
          </p:cNvPr>
          <p:cNvSpPr/>
          <p:nvPr/>
        </p:nvSpPr>
        <p:spPr bwMode="auto">
          <a:xfrm>
            <a:off x="8180017" y="1364796"/>
            <a:ext cx="598708" cy="598708"/>
          </a:xfrm>
          <a:prstGeom prst="ellipse">
            <a:avLst/>
          </a:prstGeom>
          <a:solidFill>
            <a:schemeClr val="bg1"/>
          </a:solidFill>
          <a:ln w="3175">
            <a:solidFill>
              <a:schemeClr val="bg1">
                <a:lumMod val="9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122" name="Graphic 26">
            <a:extLst>
              <a:ext uri="{FF2B5EF4-FFF2-40B4-BE49-F238E27FC236}">
                <a16:creationId xmlns:a16="http://schemas.microsoft.com/office/drawing/2014/main" id="{E7CF9EE0-A5C7-49FB-A9AD-DE02AA788116}"/>
              </a:ext>
            </a:extLst>
          </p:cNvPr>
          <p:cNvGrpSpPr>
            <a:grpSpLocks noChangeAspect="1"/>
          </p:cNvGrpSpPr>
          <p:nvPr/>
        </p:nvGrpSpPr>
        <p:grpSpPr>
          <a:xfrm>
            <a:off x="8302854" y="1504130"/>
            <a:ext cx="353035" cy="320040"/>
            <a:chOff x="6052574" y="3346872"/>
            <a:chExt cx="459923" cy="416939"/>
          </a:xfrm>
        </p:grpSpPr>
        <p:sp>
          <p:nvSpPr>
            <p:cNvPr id="123" name="Freeform: Shape 122">
              <a:extLst>
                <a:ext uri="{FF2B5EF4-FFF2-40B4-BE49-F238E27FC236}">
                  <a16:creationId xmlns:a16="http://schemas.microsoft.com/office/drawing/2014/main" id="{9A08610E-A269-4997-B95D-BFD0DB16104B}"/>
                </a:ext>
              </a:extLst>
            </p:cNvPr>
            <p:cNvSpPr/>
            <p:nvPr/>
          </p:nvSpPr>
          <p:spPr>
            <a:xfrm>
              <a:off x="6219949" y="3346872"/>
              <a:ext cx="292548" cy="304401"/>
            </a:xfrm>
            <a:custGeom>
              <a:avLst/>
              <a:gdLst>
                <a:gd name="connsiteX0" fmla="*/ 92349 w 292548"/>
                <a:gd name="connsiteY0" fmla="*/ 270666 h 304401"/>
                <a:gd name="connsiteX1" fmla="*/ 146274 w 292548"/>
                <a:gd name="connsiteY1" fmla="*/ 280565 h 304401"/>
                <a:gd name="connsiteX2" fmla="*/ 218304 w 292548"/>
                <a:gd name="connsiteY2" fmla="*/ 262330 h 304401"/>
                <a:gd name="connsiteX3" fmla="*/ 292548 w 292548"/>
                <a:gd name="connsiteY3" fmla="*/ 304401 h 304401"/>
                <a:gd name="connsiteX4" fmla="*/ 260376 w 292548"/>
                <a:gd name="connsiteY4" fmla="*/ 227943 h 304401"/>
                <a:gd name="connsiteX5" fmla="*/ 292548 w 292548"/>
                <a:gd name="connsiteY5" fmla="*/ 140283 h 304401"/>
                <a:gd name="connsiteX6" fmla="*/ 146274 w 292548"/>
                <a:gd name="connsiteY6" fmla="*/ 0 h 304401"/>
                <a:gd name="connsiteX7" fmla="*/ 0 w 292548"/>
                <a:gd name="connsiteY7" fmla="*/ 140283 h 30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548" h="304401">
                  <a:moveTo>
                    <a:pt x="92349" y="270666"/>
                  </a:moveTo>
                  <a:cubicBezTo>
                    <a:pt x="109022" y="277048"/>
                    <a:pt x="127257" y="280565"/>
                    <a:pt x="146274" y="280565"/>
                  </a:cubicBezTo>
                  <a:cubicBezTo>
                    <a:pt x="172455" y="280565"/>
                    <a:pt x="197073" y="273922"/>
                    <a:pt x="218304" y="262330"/>
                  </a:cubicBezTo>
                  <a:cubicBezTo>
                    <a:pt x="228985" y="273662"/>
                    <a:pt x="252300" y="293200"/>
                    <a:pt x="292548" y="304401"/>
                  </a:cubicBezTo>
                  <a:cubicBezTo>
                    <a:pt x="281607" y="288380"/>
                    <a:pt x="263502" y="260767"/>
                    <a:pt x="260376" y="227943"/>
                  </a:cubicBezTo>
                  <a:cubicBezTo>
                    <a:pt x="280435" y="203976"/>
                    <a:pt x="292548" y="173497"/>
                    <a:pt x="292548" y="140283"/>
                  </a:cubicBezTo>
                  <a:cubicBezTo>
                    <a:pt x="292548" y="62782"/>
                    <a:pt x="227031" y="0"/>
                    <a:pt x="146274" y="0"/>
                  </a:cubicBezTo>
                  <a:cubicBezTo>
                    <a:pt x="65517" y="0"/>
                    <a:pt x="0" y="62912"/>
                    <a:pt x="0" y="140283"/>
                  </a:cubicBezTo>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endParaRPr lang="fr-fr" dirty="0">
                <a:cs typeface="Segoe UI"/>
              </a:endParaRPr>
            </a:p>
          </p:txBody>
        </p:sp>
        <p:sp>
          <p:nvSpPr>
            <p:cNvPr id="124" name="Freeform: Shape 123">
              <a:extLst>
                <a:ext uri="{FF2B5EF4-FFF2-40B4-BE49-F238E27FC236}">
                  <a16:creationId xmlns:a16="http://schemas.microsoft.com/office/drawing/2014/main" id="{637BC4DA-E83A-4844-B3A6-21B276A8E83D}"/>
                </a:ext>
              </a:extLst>
            </p:cNvPr>
            <p:cNvSpPr/>
            <p:nvPr/>
          </p:nvSpPr>
          <p:spPr>
            <a:xfrm>
              <a:off x="6052574" y="3483637"/>
              <a:ext cx="259464" cy="280174"/>
            </a:xfrm>
            <a:custGeom>
              <a:avLst/>
              <a:gdLst>
                <a:gd name="connsiteX0" fmla="*/ 129862 w 259464"/>
                <a:gd name="connsiteY0" fmla="*/ 0 h 280174"/>
                <a:gd name="connsiteX1" fmla="*/ 0 w 259464"/>
                <a:gd name="connsiteY1" fmla="*/ 124522 h 280174"/>
                <a:gd name="connsiteX2" fmla="*/ 36731 w 259464"/>
                <a:gd name="connsiteY2" fmla="*/ 211270 h 280174"/>
                <a:gd name="connsiteX3" fmla="*/ 5340 w 259464"/>
                <a:gd name="connsiteY3" fmla="*/ 280174 h 280174"/>
                <a:gd name="connsiteX4" fmla="*/ 78282 w 259464"/>
                <a:gd name="connsiteY4" fmla="*/ 238884 h 280174"/>
                <a:gd name="connsiteX5" fmla="*/ 129602 w 259464"/>
                <a:gd name="connsiteY5" fmla="*/ 249044 h 280174"/>
                <a:gd name="connsiteX6" fmla="*/ 259464 w 259464"/>
                <a:gd name="connsiteY6" fmla="*/ 124522 h 280174"/>
                <a:gd name="connsiteX7" fmla="*/ 129862 w 259464"/>
                <a:gd name="connsiteY7" fmla="*/ 0 h 280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464" h="280174">
                  <a:moveTo>
                    <a:pt x="129862" y="0"/>
                  </a:moveTo>
                  <a:cubicBezTo>
                    <a:pt x="58223" y="0"/>
                    <a:pt x="0" y="55748"/>
                    <a:pt x="0" y="124522"/>
                  </a:cubicBezTo>
                  <a:cubicBezTo>
                    <a:pt x="0" y="158257"/>
                    <a:pt x="14067" y="188867"/>
                    <a:pt x="36731" y="211270"/>
                  </a:cubicBezTo>
                  <a:cubicBezTo>
                    <a:pt x="34387" y="242010"/>
                    <a:pt x="16151" y="264935"/>
                    <a:pt x="5340" y="280174"/>
                  </a:cubicBezTo>
                  <a:cubicBezTo>
                    <a:pt x="43895" y="269754"/>
                    <a:pt x="67341" y="250216"/>
                    <a:pt x="78282" y="238884"/>
                  </a:cubicBezTo>
                  <a:cubicBezTo>
                    <a:pt x="94043" y="245397"/>
                    <a:pt x="111366" y="249044"/>
                    <a:pt x="129602" y="249044"/>
                  </a:cubicBezTo>
                  <a:cubicBezTo>
                    <a:pt x="201241" y="249044"/>
                    <a:pt x="259464" y="193296"/>
                    <a:pt x="259464" y="124522"/>
                  </a:cubicBezTo>
                  <a:cubicBezTo>
                    <a:pt x="259724" y="55879"/>
                    <a:pt x="201501" y="0"/>
                    <a:pt x="129862" y="0"/>
                  </a:cubicBezTo>
                  <a:close/>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endParaRPr lang="fr-fr" dirty="0">
                <a:cs typeface="Segoe UI"/>
              </a:endParaRPr>
            </a:p>
          </p:txBody>
        </p:sp>
      </p:grpSp>
    </p:spTree>
    <p:extLst>
      <p:ext uri="{BB962C8B-B14F-4D97-AF65-F5344CB8AC3E}">
        <p14:creationId xmlns:p14="http://schemas.microsoft.com/office/powerpoint/2010/main" val="247837927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4B53BC"/>
        </a:solidFill>
        <a:effectLst/>
      </p:bgPr>
    </p:bg>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pPr algn="l" rtl="0"/>
            <a:r>
              <a:rPr lang="fr-fr" b="0" i="0" u="none" baseline="0">
                <a:solidFill>
                  <a:schemeClr val="tx1"/>
                </a:solidFill>
              </a:rPr>
              <a:t>Annexe</a:t>
            </a:r>
          </a:p>
        </p:txBody>
      </p:sp>
    </p:spTree>
    <p:extLst>
      <p:ext uri="{BB962C8B-B14F-4D97-AF65-F5344CB8AC3E}">
        <p14:creationId xmlns:p14="http://schemas.microsoft.com/office/powerpoint/2010/main" val="4173227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D0DBBC4C-1EC2-428E-8654-708BA3C6B55A}"/>
              </a:ext>
            </a:extLst>
          </p:cNvPr>
          <p:cNvGrpSpPr/>
          <p:nvPr/>
        </p:nvGrpSpPr>
        <p:grpSpPr>
          <a:xfrm>
            <a:off x="0" y="1719134"/>
            <a:ext cx="5575201" cy="4549896"/>
            <a:chOff x="0" y="1719134"/>
            <a:chExt cx="5575201" cy="4549896"/>
          </a:xfrm>
        </p:grpSpPr>
        <p:sp>
          <p:nvSpPr>
            <p:cNvPr id="12" name="Freeform: Shape 11">
              <a:extLst>
                <a:ext uri="{FF2B5EF4-FFF2-40B4-BE49-F238E27FC236}">
                  <a16:creationId xmlns:a16="http://schemas.microsoft.com/office/drawing/2014/main" id="{8319326B-3D89-411B-AEFE-C164E60D5F97}"/>
                </a:ext>
              </a:extLst>
            </p:cNvPr>
            <p:cNvSpPr/>
            <p:nvPr/>
          </p:nvSpPr>
          <p:spPr bwMode="auto">
            <a:xfrm>
              <a:off x="588263" y="1720867"/>
              <a:ext cx="4986938" cy="929616"/>
            </a:xfrm>
            <a:custGeom>
              <a:avLst/>
              <a:gdLst>
                <a:gd name="connsiteX0" fmla="*/ 126363 w 4986938"/>
                <a:gd name="connsiteY0" fmla="*/ 0 h 929616"/>
                <a:gd name="connsiteX1" fmla="*/ 4986938 w 4986938"/>
                <a:gd name="connsiteY1" fmla="*/ 0 h 929616"/>
                <a:gd name="connsiteX2" fmla="*/ 4986938 w 4986938"/>
                <a:gd name="connsiteY2" fmla="*/ 929616 h 929616"/>
                <a:gd name="connsiteX3" fmla="*/ 0 w 4986938"/>
                <a:gd name="connsiteY3" fmla="*/ 929616 h 929616"/>
                <a:gd name="connsiteX4" fmla="*/ 0 w 4986938"/>
                <a:gd name="connsiteY4" fmla="*/ 126363 h 929616"/>
                <a:gd name="connsiteX5" fmla="*/ 126363 w 4986938"/>
                <a:gd name="connsiteY5" fmla="*/ 0 h 92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6938" h="929616">
                  <a:moveTo>
                    <a:pt x="126363" y="0"/>
                  </a:moveTo>
                  <a:lnTo>
                    <a:pt x="4986938" y="0"/>
                  </a:lnTo>
                  <a:lnTo>
                    <a:pt x="4986938" y="929616"/>
                  </a:lnTo>
                  <a:lnTo>
                    <a:pt x="0" y="929616"/>
                  </a:lnTo>
                  <a:lnTo>
                    <a:pt x="0" y="126363"/>
                  </a:lnTo>
                  <a:cubicBezTo>
                    <a:pt x="0" y="56575"/>
                    <a:pt x="56575" y="0"/>
                    <a:pt x="126363" y="0"/>
                  </a:cubicBezTo>
                  <a:close/>
                </a:path>
              </a:pathLst>
            </a:cu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0" bIns="45720" numCol="1" spcCol="0" rtlCol="0" fromWordArt="0" anchor="ctr" anchorCtr="0" forceAA="0" compatLnSpc="1">
              <a:prstTxWarp prst="textNoShape">
                <a:avLst/>
              </a:prstTxWarp>
              <a:noAutofit/>
            </a:bodyPr>
            <a:lstStyle/>
            <a:p>
              <a:pPr algn="l" defTabSz="932472" rtl="0" fontAlgn="base">
                <a:spcBef>
                  <a:spcPct val="0"/>
                </a:spcBef>
                <a:spcAft>
                  <a:spcPct val="0"/>
                </a:spcAft>
              </a:pPr>
              <a:r>
                <a:rPr lang="fr-fr" sz="2200" b="0" i="0" u="none" baseline="0" dirty="0">
                  <a:solidFill>
                    <a:schemeClr val="bg1"/>
                  </a:solidFill>
                  <a:latin typeface="+mj-lt"/>
                  <a:ea typeface="Segoe UI" pitchFamily="34" charset="0"/>
                  <a:cs typeface="Segoe UI" pitchFamily="34" charset="0"/>
                </a:rPr>
                <a:t>Soyez toujours prêt à accomplir </a:t>
              </a:r>
              <a:br>
                <a:rPr lang="fr-fr" sz="2200" b="0" i="0" u="none" baseline="0" dirty="0">
                  <a:solidFill>
                    <a:schemeClr val="bg1"/>
                  </a:solidFill>
                  <a:latin typeface="+mj-lt"/>
                  <a:ea typeface="Segoe UI" pitchFamily="34" charset="0"/>
                  <a:cs typeface="Segoe UI" pitchFamily="34" charset="0"/>
                </a:rPr>
              </a:br>
              <a:r>
                <a:rPr lang="fr-fr" sz="2200" b="0" i="0" u="none" baseline="0" dirty="0">
                  <a:solidFill>
                    <a:schemeClr val="bg1"/>
                  </a:solidFill>
                  <a:latin typeface="+mj-lt"/>
                  <a:ea typeface="Segoe UI" pitchFamily="34" charset="0"/>
                  <a:cs typeface="Segoe UI" pitchFamily="34" charset="0"/>
                </a:rPr>
                <a:t>vos tâches</a:t>
              </a:r>
            </a:p>
          </p:txBody>
        </p:sp>
        <p:sp>
          <p:nvSpPr>
            <p:cNvPr id="14" name="Arrow: Bent 13">
              <a:extLst>
                <a:ext uri="{FF2B5EF4-FFF2-40B4-BE49-F238E27FC236}">
                  <a16:creationId xmlns:a16="http://schemas.microsoft.com/office/drawing/2014/main" id="{BB347F0E-F435-4A6D-A3D0-265FEE965CB5}"/>
                </a:ext>
              </a:extLst>
            </p:cNvPr>
            <p:cNvSpPr/>
            <p:nvPr/>
          </p:nvSpPr>
          <p:spPr bwMode="auto">
            <a:xfrm>
              <a:off x="588263" y="1719134"/>
              <a:ext cx="4948937" cy="2173288"/>
            </a:xfrm>
            <a:prstGeom prst="bentArrow">
              <a:avLst>
                <a:gd name="adj1" fmla="val 25000"/>
                <a:gd name="adj2" fmla="val 0"/>
                <a:gd name="adj3" fmla="val 25000"/>
                <a:gd name="adj4" fmla="val 556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18" name="Arrow: Bent 17">
              <a:extLst>
                <a:ext uri="{FF2B5EF4-FFF2-40B4-BE49-F238E27FC236}">
                  <a16:creationId xmlns:a16="http://schemas.microsoft.com/office/drawing/2014/main" id="{5EAE4746-49CB-4A96-838B-10C6A7FE1858}"/>
                </a:ext>
              </a:extLst>
            </p:cNvPr>
            <p:cNvSpPr/>
            <p:nvPr/>
          </p:nvSpPr>
          <p:spPr bwMode="auto">
            <a:xfrm flipH="1" flipV="1">
              <a:off x="0" y="3541711"/>
              <a:ext cx="588262" cy="2727319"/>
            </a:xfrm>
            <a:prstGeom prst="bentArrow">
              <a:avLst>
                <a:gd name="adj1" fmla="val 25000"/>
                <a:gd name="adj2" fmla="val 0"/>
                <a:gd name="adj3" fmla="val 25000"/>
                <a:gd name="adj4" fmla="val 20514"/>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719CD594-EE8A-4B19-A393-9F0C1CEAF8E9}"/>
                </a:ext>
              </a:extLst>
            </p:cNvPr>
            <p:cNvSpPr/>
            <p:nvPr/>
          </p:nvSpPr>
          <p:spPr>
            <a:xfrm>
              <a:off x="420924" y="2730764"/>
              <a:ext cx="4878151" cy="3323987"/>
            </a:xfrm>
            <a:prstGeom prst="rect">
              <a:avLst/>
            </a:prstGeom>
          </p:spPr>
          <p:txBody>
            <a:bodyPr wrap="square" anchor="t">
              <a:spAutoFit/>
            </a:bodyPr>
            <a:lstStyle/>
            <a:p>
              <a:pPr marL="285750" indent="-285750" algn="l" rtl="0" fontAlgn="base">
                <a:spcBef>
                  <a:spcPts val="1200"/>
                </a:spcBef>
                <a:buClr>
                  <a:srgbClr val="4B53BC"/>
                </a:buClr>
                <a:buSzPct val="100000"/>
                <a:buBlip>
                  <a:blip r:embed="rId3"/>
                </a:buBlip>
                <a:defRPr/>
              </a:pPr>
              <a:r>
                <a:rPr lang="fr-fr" b="0" i="0" u="none" baseline="0" dirty="0">
                  <a:cs typeface="Segoe UI"/>
                </a:rPr>
                <a:t>Planifiez les réunions en fonction de la disponibilité des participants </a:t>
              </a:r>
            </a:p>
            <a:p>
              <a:pPr marL="285750" indent="-285750" algn="l" rtl="0" fontAlgn="base">
                <a:spcBef>
                  <a:spcPts val="1200"/>
                </a:spcBef>
                <a:buClr>
                  <a:srgbClr val="4B53BC"/>
                </a:buClr>
                <a:buSzPct val="100000"/>
                <a:buBlip>
                  <a:blip r:embed="rId3"/>
                </a:buBlip>
                <a:defRPr/>
              </a:pPr>
              <a:r>
                <a:rPr lang="fr-fr" b="0" i="0" u="none" baseline="0" dirty="0">
                  <a:cs typeface="Segoe UI"/>
                </a:rPr>
                <a:t>Recherchez des personnes, des fichiers </a:t>
              </a:r>
              <a:br>
                <a:rPr lang="fr-fr" b="0" i="0" u="none" baseline="0" dirty="0">
                  <a:cs typeface="Segoe UI"/>
                </a:rPr>
              </a:br>
              <a:r>
                <a:rPr lang="fr-fr" b="0" i="0" u="none" baseline="0" dirty="0">
                  <a:cs typeface="Segoe UI"/>
                </a:rPr>
                <a:t>et des conversations</a:t>
              </a:r>
            </a:p>
            <a:p>
              <a:pPr marL="285750" indent="-285750" algn="l" rtl="0" fontAlgn="base">
                <a:spcBef>
                  <a:spcPts val="1200"/>
                </a:spcBef>
                <a:buClr>
                  <a:srgbClr val="4B53BC"/>
                </a:buClr>
                <a:buSzPct val="100000"/>
                <a:buBlip>
                  <a:blip r:embed="rId3"/>
                </a:buBlip>
                <a:defRPr/>
              </a:pPr>
              <a:r>
                <a:rPr lang="fr-fr" b="0" i="0" u="none" baseline="0" dirty="0">
                  <a:cs typeface="Segoe UI"/>
                </a:rPr>
                <a:t>Consultez facilement les rapports et le statut des équipes avec les applications intégrées et les journaux de chat</a:t>
              </a:r>
            </a:p>
            <a:p>
              <a:pPr marL="285750" indent="-285750" algn="l" rtl="0" fontAlgn="base">
                <a:spcBef>
                  <a:spcPts val="1200"/>
                </a:spcBef>
                <a:buClr>
                  <a:srgbClr val="4B53BC"/>
                </a:buClr>
                <a:buSzPct val="100000"/>
                <a:buBlip>
                  <a:blip r:embed="rId3"/>
                </a:buBlip>
                <a:defRPr/>
              </a:pPr>
              <a:r>
                <a:rPr lang="fr-fr" b="0" i="0" u="none" baseline="0" dirty="0">
                  <a:cs typeface="Segoe UI"/>
                </a:rPr>
                <a:t>Créez des ordres du jour dans les descriptions des réunions pour donner </a:t>
              </a:r>
              <a:br>
                <a:rPr lang="fr-fr" b="0" i="0" u="none" baseline="0" dirty="0">
                  <a:cs typeface="Segoe UI"/>
                </a:rPr>
              </a:br>
              <a:r>
                <a:rPr lang="fr-fr" b="0" i="0" u="none" baseline="0" dirty="0">
                  <a:cs typeface="Segoe UI"/>
                </a:rPr>
                <a:t>le ton à votre équipe</a:t>
              </a:r>
            </a:p>
          </p:txBody>
        </p:sp>
      </p:grpSp>
      <p:sp>
        <p:nvSpPr>
          <p:cNvPr id="2" name="Title 1">
            <a:extLst>
              <a:ext uri="{FF2B5EF4-FFF2-40B4-BE49-F238E27FC236}">
                <a16:creationId xmlns:a16="http://schemas.microsoft.com/office/drawing/2014/main" id="{CFC469C1-B1BE-4714-AE37-8EEFD0242FF3}"/>
              </a:ext>
            </a:extLst>
          </p:cNvPr>
          <p:cNvSpPr>
            <a:spLocks noGrp="1"/>
          </p:cNvSpPr>
          <p:nvPr>
            <p:ph type="title"/>
          </p:nvPr>
        </p:nvSpPr>
        <p:spPr/>
        <p:txBody>
          <a:bodyPr/>
          <a:lstStyle/>
          <a:p>
            <a:pPr algn="l" rtl="0"/>
            <a:r>
              <a:rPr lang="fr-fr" b="0" i="0" u="none" baseline="0"/>
              <a:t>Soyez plus préparé que jamais</a:t>
            </a:r>
          </a:p>
        </p:txBody>
      </p:sp>
      <p:grpSp>
        <p:nvGrpSpPr>
          <p:cNvPr id="3" name="Group 2">
            <a:extLst>
              <a:ext uri="{FF2B5EF4-FFF2-40B4-BE49-F238E27FC236}">
                <a16:creationId xmlns:a16="http://schemas.microsoft.com/office/drawing/2014/main" id="{92C98931-9E8B-4995-8B79-06DF24CDA5CD}"/>
              </a:ext>
            </a:extLst>
          </p:cNvPr>
          <p:cNvGrpSpPr/>
          <p:nvPr/>
        </p:nvGrpSpPr>
        <p:grpSpPr>
          <a:xfrm>
            <a:off x="5699126" y="1299369"/>
            <a:ext cx="6492875" cy="4838697"/>
            <a:chOff x="5699126" y="1409699"/>
            <a:chExt cx="6492875" cy="4838697"/>
          </a:xfrm>
        </p:grpSpPr>
        <p:sp>
          <p:nvSpPr>
            <p:cNvPr id="17" name="Rectangle: Top Corners Rounded 16">
              <a:extLst>
                <a:ext uri="{FF2B5EF4-FFF2-40B4-BE49-F238E27FC236}">
                  <a16:creationId xmlns:a16="http://schemas.microsoft.com/office/drawing/2014/main" id="{36A76D39-B496-425D-B986-67AB6A58611C}"/>
                </a:ext>
              </a:extLst>
            </p:cNvPr>
            <p:cNvSpPr/>
            <p:nvPr/>
          </p:nvSpPr>
          <p:spPr bwMode="auto">
            <a:xfrm rot="16200000">
              <a:off x="6526215" y="582610"/>
              <a:ext cx="4838697" cy="6492875"/>
            </a:xfrm>
            <a:prstGeom prst="round2SameRect">
              <a:avLst>
                <a:gd name="adj1" fmla="val 1874"/>
                <a:gd name="adj2" fmla="val 0"/>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rtl="0" fontAlgn="base">
                <a:spcBef>
                  <a:spcPct val="0"/>
                </a:spcBef>
                <a:spcAft>
                  <a:spcPct val="0"/>
                </a:spcAft>
              </a:pPr>
              <a:endParaRPr lang="fr-fr" sz="2400" dirty="0" err="1">
                <a:gradFill>
                  <a:gsLst>
                    <a:gs pos="0">
                      <a:srgbClr val="FFFFFF"/>
                    </a:gs>
                    <a:gs pos="100000">
                      <a:srgbClr val="FFFFFF"/>
                    </a:gs>
                  </a:gsLst>
                  <a:lin ang="5400000" scaled="0"/>
                </a:gradFill>
                <a:cs typeface="Segoe UI" pitchFamily="34" charset="0"/>
              </a:endParaRPr>
            </a:p>
          </p:txBody>
        </p:sp>
        <p:pic>
          <p:nvPicPr>
            <p:cNvPr id="20" name="Picture 19" descr="A screenshot of a cell phone&#10;&#10;Description generated with very high confidence">
              <a:extLst>
                <a:ext uri="{FF2B5EF4-FFF2-40B4-BE49-F238E27FC236}">
                  <a16:creationId xmlns:a16="http://schemas.microsoft.com/office/drawing/2014/main" id="{A5A0BAB6-6851-4529-A598-ECC7CD8E2A87}"/>
                </a:ext>
              </a:extLst>
            </p:cNvPr>
            <p:cNvPicPr>
              <a:picLocks noChangeAspect="1"/>
            </p:cNvPicPr>
            <p:nvPr/>
          </p:nvPicPr>
          <p:blipFill rotWithShape="1">
            <a:blip r:embed="rId4"/>
            <a:srcRect l="22646" t="291" b="1146"/>
            <a:stretch/>
          </p:blipFill>
          <p:spPr>
            <a:xfrm>
              <a:off x="5840805" y="1556443"/>
              <a:ext cx="6351196" cy="4545208"/>
            </a:xfrm>
            <a:custGeom>
              <a:avLst/>
              <a:gdLst>
                <a:gd name="connsiteX0" fmla="*/ 95268 w 6351196"/>
                <a:gd name="connsiteY0" fmla="*/ 0 h 4545208"/>
                <a:gd name="connsiteX1" fmla="*/ 6255929 w 6351196"/>
                <a:gd name="connsiteY1" fmla="*/ 0 h 4545208"/>
                <a:gd name="connsiteX2" fmla="*/ 6343710 w 6351196"/>
                <a:gd name="connsiteY2" fmla="*/ 58186 h 4545208"/>
                <a:gd name="connsiteX3" fmla="*/ 6351196 w 6351196"/>
                <a:gd name="connsiteY3" fmla="*/ 95263 h 4545208"/>
                <a:gd name="connsiteX4" fmla="*/ 6351196 w 6351196"/>
                <a:gd name="connsiteY4" fmla="*/ 4449945 h 4545208"/>
                <a:gd name="connsiteX5" fmla="*/ 6343710 w 6351196"/>
                <a:gd name="connsiteY5" fmla="*/ 4487023 h 4545208"/>
                <a:gd name="connsiteX6" fmla="*/ 6255929 w 6351196"/>
                <a:gd name="connsiteY6" fmla="*/ 4545208 h 4545208"/>
                <a:gd name="connsiteX7" fmla="*/ 95268 w 6351196"/>
                <a:gd name="connsiteY7" fmla="*/ 4545208 h 4545208"/>
                <a:gd name="connsiteX8" fmla="*/ 0 w 6351196"/>
                <a:gd name="connsiteY8" fmla="*/ 4449940 h 4545208"/>
                <a:gd name="connsiteX9" fmla="*/ 0 w 6351196"/>
                <a:gd name="connsiteY9" fmla="*/ 95268 h 4545208"/>
                <a:gd name="connsiteX10" fmla="*/ 95268 w 6351196"/>
                <a:gd name="connsiteY10" fmla="*/ 0 h 4545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51196" h="4545208">
                  <a:moveTo>
                    <a:pt x="95268" y="0"/>
                  </a:moveTo>
                  <a:lnTo>
                    <a:pt x="6255929" y="0"/>
                  </a:lnTo>
                  <a:cubicBezTo>
                    <a:pt x="6295390" y="0"/>
                    <a:pt x="6329248" y="23992"/>
                    <a:pt x="6343710" y="58186"/>
                  </a:cubicBezTo>
                  <a:lnTo>
                    <a:pt x="6351196" y="95263"/>
                  </a:lnTo>
                  <a:lnTo>
                    <a:pt x="6351196" y="4449945"/>
                  </a:lnTo>
                  <a:lnTo>
                    <a:pt x="6343710" y="4487023"/>
                  </a:lnTo>
                  <a:cubicBezTo>
                    <a:pt x="6329248" y="4521216"/>
                    <a:pt x="6295390" y="4545208"/>
                    <a:pt x="6255929" y="4545208"/>
                  </a:cubicBezTo>
                  <a:lnTo>
                    <a:pt x="95268" y="4545208"/>
                  </a:lnTo>
                  <a:cubicBezTo>
                    <a:pt x="42653" y="4545208"/>
                    <a:pt x="0" y="4502555"/>
                    <a:pt x="0" y="4449940"/>
                  </a:cubicBezTo>
                  <a:lnTo>
                    <a:pt x="0" y="95268"/>
                  </a:lnTo>
                  <a:cubicBezTo>
                    <a:pt x="0" y="42653"/>
                    <a:pt x="42653" y="0"/>
                    <a:pt x="95268" y="0"/>
                  </a:cubicBezTo>
                  <a:close/>
                </a:path>
              </a:pathLst>
            </a:custGeom>
          </p:spPr>
        </p:pic>
      </p:grpSp>
      <p:sp>
        <p:nvSpPr>
          <p:cNvPr id="21" name="Rectangle: Top Corners Rounded 20">
            <a:extLst>
              <a:ext uri="{FF2B5EF4-FFF2-40B4-BE49-F238E27FC236}">
                <a16:creationId xmlns:a16="http://schemas.microsoft.com/office/drawing/2014/main" id="{E0C338A9-3178-48B7-A4DC-0DF9C2BA3BD6}"/>
              </a:ext>
            </a:extLst>
          </p:cNvPr>
          <p:cNvSpPr/>
          <p:nvPr/>
        </p:nvSpPr>
        <p:spPr bwMode="auto">
          <a:xfrm rot="16200000">
            <a:off x="6331248" y="408286"/>
            <a:ext cx="5100641" cy="6620862"/>
          </a:xfrm>
          <a:prstGeom prst="round2SameRect">
            <a:avLst>
              <a:gd name="adj1" fmla="val 2540"/>
              <a:gd name="adj2" fmla="val 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D2D527C3-4919-4985-B08B-F08909EF5987}"/>
              </a:ext>
            </a:extLst>
          </p:cNvPr>
          <p:cNvGrpSpPr/>
          <p:nvPr/>
        </p:nvGrpSpPr>
        <p:grpSpPr>
          <a:xfrm>
            <a:off x="11082530" y="394996"/>
            <a:ext cx="1109472" cy="553999"/>
            <a:chOff x="11082530" y="394996"/>
            <a:chExt cx="1109472" cy="553999"/>
          </a:xfrm>
        </p:grpSpPr>
        <p:sp>
          <p:nvSpPr>
            <p:cNvPr id="15" name="Rectangle: Top Corners Rounded 14">
              <a:extLst>
                <a:ext uri="{FF2B5EF4-FFF2-40B4-BE49-F238E27FC236}">
                  <a16:creationId xmlns:a16="http://schemas.microsoft.com/office/drawing/2014/main" id="{594070D6-5C27-48FF-8367-9FE90AD389D7}"/>
                </a:ext>
              </a:extLst>
            </p:cNvPr>
            <p:cNvSpPr/>
            <p:nvPr/>
          </p:nvSpPr>
          <p:spPr bwMode="auto">
            <a:xfrm rot="16200000">
              <a:off x="11360266" y="117260"/>
              <a:ext cx="553999" cy="1109472"/>
            </a:xfrm>
            <a:prstGeom prst="round2SameRect">
              <a:avLst>
                <a:gd name="adj1" fmla="val 50000"/>
                <a:gd name="adj2" fmla="val 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07025BA3-A84C-4C26-867F-03B050834DDD}"/>
                </a:ext>
              </a:extLst>
            </p:cNvPr>
            <p:cNvSpPr/>
            <p:nvPr/>
          </p:nvSpPr>
          <p:spPr bwMode="auto">
            <a:xfrm>
              <a:off x="11107990" y="418917"/>
              <a:ext cx="506160" cy="50615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rtl="0" fontAlgn="base">
                <a:lnSpc>
                  <a:spcPct val="90000"/>
                </a:lnSpc>
                <a:spcBef>
                  <a:spcPct val="0"/>
                </a:spcBef>
                <a:spcAft>
                  <a:spcPct val="0"/>
                </a:spcAft>
              </a:pPr>
              <a:endParaRPr lang="fr-fr"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Graphic 675">
              <a:extLst>
                <a:ext uri="{FF2B5EF4-FFF2-40B4-BE49-F238E27FC236}">
                  <a16:creationId xmlns:a16="http://schemas.microsoft.com/office/drawing/2014/main" id="{CB8C4C13-0B35-48F6-AA4B-112757112E89}"/>
                </a:ext>
              </a:extLst>
            </p:cNvPr>
            <p:cNvSpPr/>
            <p:nvPr/>
          </p:nvSpPr>
          <p:spPr>
            <a:xfrm>
              <a:off x="11219561" y="527874"/>
              <a:ext cx="283018" cy="288244"/>
            </a:xfrm>
            <a:custGeom>
              <a:avLst/>
              <a:gdLst>
                <a:gd name="connsiteX0" fmla="*/ 431031 w 431031"/>
                <a:gd name="connsiteY0" fmla="*/ 277886 h 438999"/>
                <a:gd name="connsiteX1" fmla="*/ 161036 w 431031"/>
                <a:gd name="connsiteY1" fmla="*/ 431031 h 438999"/>
                <a:gd name="connsiteX2" fmla="*/ 8025 w 431031"/>
                <a:gd name="connsiteY2" fmla="*/ 161036 h 438999"/>
                <a:gd name="connsiteX3" fmla="*/ 277886 w 431031"/>
                <a:gd name="connsiteY3" fmla="*/ 8025 h 438999"/>
                <a:gd name="connsiteX4" fmla="*/ 393791 w 431031"/>
                <a:gd name="connsiteY4" fmla="*/ 86285 h 438999"/>
                <a:gd name="connsiteX5" fmla="*/ 339279 w 431031"/>
                <a:gd name="connsiteY5" fmla="*/ 89658 h 438999"/>
                <a:gd name="connsiteX6" fmla="*/ 397839 w 431031"/>
                <a:gd name="connsiteY6" fmla="*/ 89388 h 438999"/>
                <a:gd name="connsiteX7" fmla="*/ 399053 w 431031"/>
                <a:gd name="connsiteY7" fmla="*/ 30963 h 438999"/>
                <a:gd name="connsiteX8" fmla="*/ 219461 w 431031"/>
                <a:gd name="connsiteY8" fmla="*/ 226477 h 438999"/>
                <a:gd name="connsiteX9" fmla="*/ 176283 w 431031"/>
                <a:gd name="connsiteY9" fmla="*/ 183839 h 438999"/>
                <a:gd name="connsiteX10" fmla="*/ 219461 w 431031"/>
                <a:gd name="connsiteY10" fmla="*/ 140392 h 438999"/>
                <a:gd name="connsiteX11" fmla="*/ 262638 w 431031"/>
                <a:gd name="connsiteY11" fmla="*/ 183839 h 438999"/>
                <a:gd name="connsiteX12" fmla="*/ 219461 w 431031"/>
                <a:gd name="connsiteY12" fmla="*/ 226477 h 438999"/>
                <a:gd name="connsiteX13" fmla="*/ 219461 w 431031"/>
                <a:gd name="connsiteY13" fmla="*/ 226477 h 438999"/>
                <a:gd name="connsiteX14" fmla="*/ 288275 w 431031"/>
                <a:gd name="connsiteY14" fmla="*/ 297046 h 438999"/>
                <a:gd name="connsiteX15" fmla="*/ 149432 w 431031"/>
                <a:gd name="connsiteY15" fmla="*/ 297046 h 438999"/>
                <a:gd name="connsiteX16" fmla="*/ 218786 w 431031"/>
                <a:gd name="connsiteY16" fmla="*/ 226477 h 438999"/>
                <a:gd name="connsiteX17" fmla="*/ 288140 w 431031"/>
                <a:gd name="connsiteY17" fmla="*/ 297046 h 438999"/>
                <a:gd name="connsiteX18" fmla="*/ 328349 w 431031"/>
                <a:gd name="connsiteY18" fmla="*/ 220540 h 438999"/>
                <a:gd name="connsiteX19" fmla="*/ 287735 w 431031"/>
                <a:gd name="connsiteY19" fmla="*/ 180466 h 438999"/>
                <a:gd name="connsiteX20" fmla="*/ 328349 w 431031"/>
                <a:gd name="connsiteY20" fmla="*/ 139582 h 438999"/>
                <a:gd name="connsiteX21" fmla="*/ 368964 w 431031"/>
                <a:gd name="connsiteY21" fmla="*/ 180466 h 438999"/>
                <a:gd name="connsiteX22" fmla="*/ 328349 w 431031"/>
                <a:gd name="connsiteY22" fmla="*/ 220540 h 438999"/>
                <a:gd name="connsiteX23" fmla="*/ 328349 w 431031"/>
                <a:gd name="connsiteY23" fmla="*/ 220540 h 438999"/>
                <a:gd name="connsiteX24" fmla="*/ 274377 w 431031"/>
                <a:gd name="connsiteY24" fmla="*/ 248606 h 438999"/>
                <a:gd name="connsiteX25" fmla="*/ 327540 w 431031"/>
                <a:gd name="connsiteY25" fmla="*/ 220675 h 438999"/>
                <a:gd name="connsiteX26" fmla="*/ 392711 w 431031"/>
                <a:gd name="connsiteY26" fmla="*/ 287061 h 438999"/>
                <a:gd name="connsiteX27" fmla="*/ 289355 w 431031"/>
                <a:gd name="connsiteY27" fmla="*/ 287061 h 438999"/>
                <a:gd name="connsiteX28" fmla="*/ 110167 w 431031"/>
                <a:gd name="connsiteY28" fmla="*/ 220540 h 438999"/>
                <a:gd name="connsiteX29" fmla="*/ 69553 w 431031"/>
                <a:gd name="connsiteY29" fmla="*/ 180466 h 438999"/>
                <a:gd name="connsiteX30" fmla="*/ 110167 w 431031"/>
                <a:gd name="connsiteY30" fmla="*/ 139582 h 438999"/>
                <a:gd name="connsiteX31" fmla="*/ 150781 w 431031"/>
                <a:gd name="connsiteY31" fmla="*/ 180466 h 438999"/>
                <a:gd name="connsiteX32" fmla="*/ 110167 w 431031"/>
                <a:gd name="connsiteY32" fmla="*/ 220540 h 438999"/>
                <a:gd name="connsiteX33" fmla="*/ 110167 w 431031"/>
                <a:gd name="connsiteY33" fmla="*/ 220540 h 438999"/>
                <a:gd name="connsiteX34" fmla="*/ 149432 w 431031"/>
                <a:gd name="connsiteY34" fmla="*/ 286926 h 438999"/>
                <a:gd name="connsiteX35" fmla="*/ 44321 w 431031"/>
                <a:gd name="connsiteY35" fmla="*/ 286926 h 438999"/>
                <a:gd name="connsiteX36" fmla="*/ 109493 w 431031"/>
                <a:gd name="connsiteY36" fmla="*/ 220540 h 438999"/>
                <a:gd name="connsiteX37" fmla="*/ 163195 w 431031"/>
                <a:gd name="connsiteY37" fmla="*/ 249280 h 43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1031" h="438999">
                  <a:moveTo>
                    <a:pt x="431031" y="277886"/>
                  </a:moveTo>
                  <a:cubicBezTo>
                    <a:pt x="398783" y="394735"/>
                    <a:pt x="277886" y="463280"/>
                    <a:pt x="161036" y="431031"/>
                  </a:cubicBezTo>
                  <a:cubicBezTo>
                    <a:pt x="44186" y="398783"/>
                    <a:pt x="-24358" y="277886"/>
                    <a:pt x="8025" y="161036"/>
                  </a:cubicBezTo>
                  <a:cubicBezTo>
                    <a:pt x="40408" y="44186"/>
                    <a:pt x="161036" y="-24358"/>
                    <a:pt x="277886" y="8025"/>
                  </a:cubicBezTo>
                  <a:cubicBezTo>
                    <a:pt x="325921" y="21248"/>
                    <a:pt x="365725" y="49583"/>
                    <a:pt x="393791" y="86285"/>
                  </a:cubicBezTo>
                  <a:moveTo>
                    <a:pt x="339279" y="89658"/>
                  </a:moveTo>
                  <a:cubicBezTo>
                    <a:pt x="339279" y="89658"/>
                    <a:pt x="339279" y="89658"/>
                    <a:pt x="397839" y="89388"/>
                  </a:cubicBezTo>
                  <a:cubicBezTo>
                    <a:pt x="397839" y="89388"/>
                    <a:pt x="397839" y="89388"/>
                    <a:pt x="399053" y="30963"/>
                  </a:cubicBezTo>
                  <a:moveTo>
                    <a:pt x="219461" y="226477"/>
                  </a:moveTo>
                  <a:cubicBezTo>
                    <a:pt x="195578" y="226477"/>
                    <a:pt x="176283" y="207047"/>
                    <a:pt x="176283" y="183839"/>
                  </a:cubicBezTo>
                  <a:cubicBezTo>
                    <a:pt x="176283" y="159822"/>
                    <a:pt x="195578" y="140392"/>
                    <a:pt x="219461" y="140392"/>
                  </a:cubicBezTo>
                  <a:cubicBezTo>
                    <a:pt x="243343" y="140392"/>
                    <a:pt x="262638" y="159822"/>
                    <a:pt x="262638" y="183839"/>
                  </a:cubicBezTo>
                  <a:cubicBezTo>
                    <a:pt x="262638" y="207047"/>
                    <a:pt x="243343" y="226477"/>
                    <a:pt x="219461" y="226477"/>
                  </a:cubicBezTo>
                  <a:lnTo>
                    <a:pt x="219461" y="226477"/>
                  </a:lnTo>
                  <a:close/>
                  <a:moveTo>
                    <a:pt x="288275" y="297046"/>
                  </a:moveTo>
                  <a:lnTo>
                    <a:pt x="149432" y="297046"/>
                  </a:lnTo>
                  <a:cubicBezTo>
                    <a:pt x="149432" y="258321"/>
                    <a:pt x="180196" y="226477"/>
                    <a:pt x="218786" y="226477"/>
                  </a:cubicBezTo>
                  <a:cubicBezTo>
                    <a:pt x="257241" y="226477"/>
                    <a:pt x="288140" y="258321"/>
                    <a:pt x="288140" y="297046"/>
                  </a:cubicBezTo>
                  <a:moveTo>
                    <a:pt x="328349" y="220540"/>
                  </a:moveTo>
                  <a:cubicBezTo>
                    <a:pt x="305951" y="220540"/>
                    <a:pt x="287735" y="202325"/>
                    <a:pt x="287735" y="180466"/>
                  </a:cubicBezTo>
                  <a:cubicBezTo>
                    <a:pt x="287735" y="157933"/>
                    <a:pt x="305816" y="139582"/>
                    <a:pt x="328349" y="139582"/>
                  </a:cubicBezTo>
                  <a:cubicBezTo>
                    <a:pt x="350748" y="139582"/>
                    <a:pt x="368964" y="157798"/>
                    <a:pt x="368964" y="180466"/>
                  </a:cubicBezTo>
                  <a:cubicBezTo>
                    <a:pt x="368829" y="202325"/>
                    <a:pt x="350748" y="220540"/>
                    <a:pt x="328349" y="220540"/>
                  </a:cubicBezTo>
                  <a:lnTo>
                    <a:pt x="328349" y="220540"/>
                  </a:lnTo>
                  <a:close/>
                  <a:moveTo>
                    <a:pt x="274377" y="248606"/>
                  </a:moveTo>
                  <a:cubicBezTo>
                    <a:pt x="286116" y="231739"/>
                    <a:pt x="305546" y="220675"/>
                    <a:pt x="327540" y="220675"/>
                  </a:cubicBezTo>
                  <a:cubicBezTo>
                    <a:pt x="363701" y="220675"/>
                    <a:pt x="392711" y="250630"/>
                    <a:pt x="392711" y="287061"/>
                  </a:cubicBezTo>
                  <a:lnTo>
                    <a:pt x="289355" y="287061"/>
                  </a:lnTo>
                  <a:moveTo>
                    <a:pt x="110167" y="220540"/>
                  </a:moveTo>
                  <a:cubicBezTo>
                    <a:pt x="87769" y="220540"/>
                    <a:pt x="69553" y="202325"/>
                    <a:pt x="69553" y="180466"/>
                  </a:cubicBezTo>
                  <a:cubicBezTo>
                    <a:pt x="69553" y="157933"/>
                    <a:pt x="87634" y="139582"/>
                    <a:pt x="110167" y="139582"/>
                  </a:cubicBezTo>
                  <a:cubicBezTo>
                    <a:pt x="132701" y="139582"/>
                    <a:pt x="150781" y="157798"/>
                    <a:pt x="150781" y="180466"/>
                  </a:cubicBezTo>
                  <a:cubicBezTo>
                    <a:pt x="150781" y="202325"/>
                    <a:pt x="132566" y="220540"/>
                    <a:pt x="110167" y="220540"/>
                  </a:cubicBezTo>
                  <a:lnTo>
                    <a:pt x="110167" y="220540"/>
                  </a:lnTo>
                  <a:close/>
                  <a:moveTo>
                    <a:pt x="149432" y="286926"/>
                  </a:moveTo>
                  <a:lnTo>
                    <a:pt x="44321" y="286926"/>
                  </a:lnTo>
                  <a:cubicBezTo>
                    <a:pt x="44321" y="250495"/>
                    <a:pt x="73331" y="220540"/>
                    <a:pt x="109493" y="220540"/>
                  </a:cubicBezTo>
                  <a:cubicBezTo>
                    <a:pt x="131891" y="220540"/>
                    <a:pt x="151456" y="232009"/>
                    <a:pt x="163195" y="249280"/>
                  </a:cubicBezTo>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endParaRPr lang="fr-fr"/>
            </a:p>
          </p:txBody>
        </p:sp>
      </p:grpSp>
    </p:spTree>
    <p:extLst>
      <p:ext uri="{BB962C8B-B14F-4D97-AF65-F5344CB8AC3E}">
        <p14:creationId xmlns:p14="http://schemas.microsoft.com/office/powerpoint/2010/main" val="1543140450"/>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DCC4C352-C149-403C-8391-C9269BCC5733}"/>
              </a:ext>
            </a:extLst>
          </p:cNvPr>
          <p:cNvGrpSpPr/>
          <p:nvPr/>
        </p:nvGrpSpPr>
        <p:grpSpPr>
          <a:xfrm>
            <a:off x="0" y="1719134"/>
            <a:ext cx="5575201" cy="4889615"/>
            <a:chOff x="0" y="1719134"/>
            <a:chExt cx="5575201" cy="4889615"/>
          </a:xfrm>
        </p:grpSpPr>
        <p:sp>
          <p:nvSpPr>
            <p:cNvPr id="12" name="Freeform: Shape 11">
              <a:extLst>
                <a:ext uri="{FF2B5EF4-FFF2-40B4-BE49-F238E27FC236}">
                  <a16:creationId xmlns:a16="http://schemas.microsoft.com/office/drawing/2014/main" id="{1431EA74-6FCF-492C-B63A-F6D914CE06CB}"/>
                </a:ext>
              </a:extLst>
            </p:cNvPr>
            <p:cNvSpPr/>
            <p:nvPr/>
          </p:nvSpPr>
          <p:spPr bwMode="auto">
            <a:xfrm>
              <a:off x="588263" y="1720867"/>
              <a:ext cx="4986938" cy="929616"/>
            </a:xfrm>
            <a:custGeom>
              <a:avLst/>
              <a:gdLst>
                <a:gd name="connsiteX0" fmla="*/ 126363 w 4986938"/>
                <a:gd name="connsiteY0" fmla="*/ 0 h 929616"/>
                <a:gd name="connsiteX1" fmla="*/ 4986938 w 4986938"/>
                <a:gd name="connsiteY1" fmla="*/ 0 h 929616"/>
                <a:gd name="connsiteX2" fmla="*/ 4986938 w 4986938"/>
                <a:gd name="connsiteY2" fmla="*/ 929616 h 929616"/>
                <a:gd name="connsiteX3" fmla="*/ 0 w 4986938"/>
                <a:gd name="connsiteY3" fmla="*/ 929616 h 929616"/>
                <a:gd name="connsiteX4" fmla="*/ 0 w 4986938"/>
                <a:gd name="connsiteY4" fmla="*/ 126363 h 929616"/>
                <a:gd name="connsiteX5" fmla="*/ 126363 w 4986938"/>
                <a:gd name="connsiteY5" fmla="*/ 0 h 92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6938" h="929616">
                  <a:moveTo>
                    <a:pt x="126363" y="0"/>
                  </a:moveTo>
                  <a:lnTo>
                    <a:pt x="4986938" y="0"/>
                  </a:lnTo>
                  <a:lnTo>
                    <a:pt x="4986938" y="929616"/>
                  </a:lnTo>
                  <a:lnTo>
                    <a:pt x="0" y="929616"/>
                  </a:lnTo>
                  <a:lnTo>
                    <a:pt x="0" y="126363"/>
                  </a:lnTo>
                  <a:cubicBezTo>
                    <a:pt x="0" y="56575"/>
                    <a:pt x="56575" y="0"/>
                    <a:pt x="126363" y="0"/>
                  </a:cubicBezTo>
                  <a:close/>
                </a:path>
              </a:pathLst>
            </a:cu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0" bIns="45720" numCol="1" spcCol="0" rtlCol="0" fromWordArt="0" anchor="ctr" anchorCtr="0" forceAA="0" compatLnSpc="1">
              <a:prstTxWarp prst="textNoShape">
                <a:avLst/>
              </a:prstTxWarp>
              <a:noAutofit/>
            </a:bodyPr>
            <a:lstStyle/>
            <a:p>
              <a:pPr algn="l" defTabSz="932472" rtl="0" fontAlgn="base">
                <a:spcBef>
                  <a:spcPct val="0"/>
                </a:spcBef>
                <a:spcAft>
                  <a:spcPct val="0"/>
                </a:spcAft>
              </a:pPr>
              <a:r>
                <a:rPr lang="fr-fr" sz="2200" b="0" i="0" u="none" baseline="0" dirty="0">
                  <a:solidFill>
                    <a:schemeClr val="bg1"/>
                  </a:solidFill>
                  <a:latin typeface="+mj-lt"/>
                  <a:ea typeface="Segoe UI" pitchFamily="34" charset="0"/>
                  <a:cs typeface="Segoe UI"/>
                </a:rPr>
                <a:t>Maintenez le cap rapidement </a:t>
              </a:r>
              <a:br>
                <a:rPr lang="fr-fr" sz="2200" b="0" i="0" u="none" baseline="0" dirty="0">
                  <a:latin typeface="+mj-lt"/>
                  <a:ea typeface="Segoe UI" pitchFamily="34" charset="0"/>
                  <a:cs typeface="Segoe UI" pitchFamily="34" charset="0"/>
                </a:rPr>
              </a:br>
              <a:r>
                <a:rPr lang="fr-fr" sz="2200" b="0" i="0" u="none" baseline="0" dirty="0">
                  <a:solidFill>
                    <a:schemeClr val="bg1"/>
                  </a:solidFill>
                  <a:latin typeface="+mj-lt"/>
                  <a:ea typeface="Segoe UI" pitchFamily="34" charset="0"/>
                  <a:cs typeface="Segoe UI"/>
                </a:rPr>
                <a:t>et facilement</a:t>
              </a:r>
            </a:p>
          </p:txBody>
        </p:sp>
        <p:sp>
          <p:nvSpPr>
            <p:cNvPr id="13" name="Arrow: Bent 12">
              <a:extLst>
                <a:ext uri="{FF2B5EF4-FFF2-40B4-BE49-F238E27FC236}">
                  <a16:creationId xmlns:a16="http://schemas.microsoft.com/office/drawing/2014/main" id="{0B1853E5-CE33-445F-88E3-586ED7D0761C}"/>
                </a:ext>
              </a:extLst>
            </p:cNvPr>
            <p:cNvSpPr/>
            <p:nvPr/>
          </p:nvSpPr>
          <p:spPr bwMode="auto">
            <a:xfrm>
              <a:off x="588263" y="1719134"/>
              <a:ext cx="4948937" cy="2173288"/>
            </a:xfrm>
            <a:prstGeom prst="bentArrow">
              <a:avLst>
                <a:gd name="adj1" fmla="val 25000"/>
                <a:gd name="adj2" fmla="val 0"/>
                <a:gd name="adj3" fmla="val 25000"/>
                <a:gd name="adj4" fmla="val 556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5" name="Arrow: Bent 14">
              <a:extLst>
                <a:ext uri="{FF2B5EF4-FFF2-40B4-BE49-F238E27FC236}">
                  <a16:creationId xmlns:a16="http://schemas.microsoft.com/office/drawing/2014/main" id="{3F0CCFF9-62EC-4AAE-BBDE-2F7EC0C33607}"/>
                </a:ext>
              </a:extLst>
            </p:cNvPr>
            <p:cNvSpPr/>
            <p:nvPr/>
          </p:nvSpPr>
          <p:spPr bwMode="auto">
            <a:xfrm flipH="1" flipV="1">
              <a:off x="0" y="3541711"/>
              <a:ext cx="588262" cy="2727319"/>
            </a:xfrm>
            <a:prstGeom prst="bentArrow">
              <a:avLst>
                <a:gd name="adj1" fmla="val 25000"/>
                <a:gd name="adj2" fmla="val 0"/>
                <a:gd name="adj3" fmla="val 25000"/>
                <a:gd name="adj4" fmla="val 20514"/>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D929444F-D156-4F99-9EBF-5286506120FB}"/>
                </a:ext>
              </a:extLst>
            </p:cNvPr>
            <p:cNvSpPr/>
            <p:nvPr/>
          </p:nvSpPr>
          <p:spPr>
            <a:xfrm>
              <a:off x="420924" y="2730764"/>
              <a:ext cx="4986938" cy="3877985"/>
            </a:xfrm>
            <a:prstGeom prst="rect">
              <a:avLst/>
            </a:prstGeom>
          </p:spPr>
          <p:txBody>
            <a:bodyPr wrap="square" anchor="t">
              <a:spAutoFit/>
            </a:bodyPr>
            <a:lstStyle/>
            <a:p>
              <a:pPr marL="285750" indent="-285750" algn="l" rtl="0" fontAlgn="base">
                <a:spcBef>
                  <a:spcPts val="1200"/>
                </a:spcBef>
                <a:buClr>
                  <a:srgbClr val="4B53BC"/>
                </a:buClr>
                <a:buSzPct val="100000"/>
                <a:buBlip>
                  <a:blip r:embed="rId3"/>
                </a:buBlip>
                <a:defRPr/>
              </a:pPr>
              <a:r>
                <a:rPr lang="fr-fr" b="0" i="0" u="none" baseline="0" dirty="0">
                  <a:cs typeface="Segoe UI"/>
                </a:rPr>
                <a:t>Accédez instantanément aux documents importants de l</a:t>
              </a:r>
              <a:r>
                <a:rPr lang="fr-FR" b="0" i="0" u="none" baseline="0" dirty="0">
                  <a:cs typeface="Segoe UI"/>
                </a:rPr>
                <a:t>’</a:t>
              </a:r>
              <a:r>
                <a:rPr lang="fr-fr" b="0" i="0" u="none" baseline="0" dirty="0">
                  <a:cs typeface="Segoe UI"/>
                </a:rPr>
                <a:t>équipe et à l</a:t>
              </a:r>
              <a:r>
                <a:rPr lang="fr-FR" b="0" i="0" u="none" baseline="0" dirty="0">
                  <a:cs typeface="Segoe UI"/>
                </a:rPr>
                <a:t>’</a:t>
              </a:r>
              <a:r>
                <a:rPr lang="fr-fr" b="0" i="0" u="none" baseline="0" dirty="0">
                  <a:cs typeface="Segoe UI"/>
                </a:rPr>
                <a:t>historique </a:t>
              </a:r>
              <a:br>
                <a:rPr lang="fr-fr" b="0" i="0" u="none" baseline="0" dirty="0">
                  <a:cs typeface="Segoe UI"/>
                </a:rPr>
              </a:br>
              <a:r>
                <a:rPr lang="fr-fr" b="0" i="0" u="none" baseline="0" dirty="0">
                  <a:cs typeface="Segoe UI"/>
                </a:rPr>
                <a:t>de chat</a:t>
              </a:r>
            </a:p>
            <a:p>
              <a:pPr marL="285750" indent="-285750" algn="l" rtl="0" fontAlgn="base">
                <a:spcBef>
                  <a:spcPts val="1200"/>
                </a:spcBef>
                <a:buClr>
                  <a:srgbClr val="4B53BC"/>
                </a:buClr>
                <a:buSzPct val="100000"/>
                <a:buBlip>
                  <a:blip r:embed="rId3"/>
                </a:buBlip>
                <a:defRPr/>
              </a:pPr>
              <a:r>
                <a:rPr lang="fr-fr" b="0" i="0" u="none" baseline="0" dirty="0">
                  <a:cs typeface="Segoe UI"/>
                </a:rPr>
                <a:t>Partagez des notes et d</a:t>
              </a:r>
              <a:r>
                <a:rPr lang="fr-FR" b="0" i="0" u="none" baseline="0" dirty="0">
                  <a:cs typeface="Segoe UI"/>
                </a:rPr>
                <a:t>’</a:t>
              </a:r>
              <a:r>
                <a:rPr lang="fr-fr" b="0" i="0" u="none" baseline="0" dirty="0">
                  <a:cs typeface="Segoe UI"/>
                </a:rPr>
                <a:t>autres fichiers </a:t>
              </a:r>
              <a:br>
                <a:rPr lang="fr-fr" b="0" i="0" u="none" baseline="0" dirty="0">
                  <a:cs typeface="Segoe UI"/>
                </a:rPr>
              </a:br>
              <a:r>
                <a:rPr lang="fr-fr" b="0" i="0" u="none" baseline="0" dirty="0">
                  <a:cs typeface="Segoe UI"/>
                </a:rPr>
                <a:t>de collaboration publiquement ou en </a:t>
              </a:r>
              <a:br>
                <a:rPr lang="fr-fr" b="0" i="0" u="none" baseline="0" dirty="0">
                  <a:cs typeface="Segoe UI"/>
                </a:rPr>
              </a:br>
              <a:r>
                <a:rPr lang="fr-fr" b="0" i="0" u="none" baseline="0" dirty="0">
                  <a:cs typeface="Segoe UI"/>
                </a:rPr>
                <a:t>privé avec votre équipe</a:t>
              </a:r>
            </a:p>
            <a:p>
              <a:pPr marL="285750" indent="-285750" algn="l" rtl="0" fontAlgn="base">
                <a:spcBef>
                  <a:spcPts val="1200"/>
                </a:spcBef>
                <a:buClr>
                  <a:srgbClr val="4B53BC"/>
                </a:buClr>
                <a:buSzPct val="100000"/>
                <a:buBlip>
                  <a:blip r:embed="rId3"/>
                </a:buBlip>
                <a:defRPr/>
              </a:pPr>
              <a:r>
                <a:rPr lang="fr-fr" b="0" i="0" u="none" baseline="0" dirty="0">
                  <a:cs typeface="Segoe UI"/>
                </a:rPr>
                <a:t>Suivez instantanément la progression </a:t>
              </a:r>
              <a:br>
                <a:rPr lang="fr-fr" b="0" i="0" u="none" baseline="0" dirty="0">
                  <a:cs typeface="Segoe UI"/>
                </a:rPr>
              </a:br>
              <a:r>
                <a:rPr lang="fr-fr" b="0" i="0" u="none" baseline="0" dirty="0">
                  <a:cs typeface="Segoe UI"/>
                </a:rPr>
                <a:t>et les mises à jour avec les applications Office 365 intégrées</a:t>
              </a:r>
            </a:p>
            <a:p>
              <a:pPr marL="285750" indent="-285750" algn="l" rtl="0" fontAlgn="base">
                <a:spcBef>
                  <a:spcPts val="1200"/>
                </a:spcBef>
                <a:buClr>
                  <a:srgbClr val="4B53BC"/>
                </a:buClr>
                <a:buSzPct val="100000"/>
                <a:buBlip>
                  <a:blip r:embed="rId3"/>
                </a:buBlip>
                <a:defRPr/>
              </a:pPr>
              <a:r>
                <a:rPr lang="fr-fr" b="0" i="0" u="none" baseline="0" dirty="0">
                  <a:cs typeface="Segoe UI"/>
                </a:rPr>
                <a:t>Enregistrez les réunions avec la transcription et sauvegardez-les dans le cloud pour les consulter à tout moment</a:t>
              </a:r>
            </a:p>
          </p:txBody>
        </p:sp>
      </p:grpSp>
      <p:sp>
        <p:nvSpPr>
          <p:cNvPr id="19" name="Rectangle: Top Corners Rounded 18">
            <a:extLst>
              <a:ext uri="{FF2B5EF4-FFF2-40B4-BE49-F238E27FC236}">
                <a16:creationId xmlns:a16="http://schemas.microsoft.com/office/drawing/2014/main" id="{AAA7AD9F-55BE-4C68-A5C9-BCF30CCEE9C6}"/>
              </a:ext>
            </a:extLst>
          </p:cNvPr>
          <p:cNvSpPr/>
          <p:nvPr/>
        </p:nvSpPr>
        <p:spPr bwMode="auto">
          <a:xfrm rot="16200000">
            <a:off x="6331248" y="408286"/>
            <a:ext cx="5100641" cy="6620862"/>
          </a:xfrm>
          <a:prstGeom prst="round2SameRect">
            <a:avLst>
              <a:gd name="adj1" fmla="val 2540"/>
              <a:gd name="adj2" fmla="val 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FF7B809F-E0D3-4566-A3A2-28A817F0CCEC}"/>
              </a:ext>
            </a:extLst>
          </p:cNvPr>
          <p:cNvSpPr>
            <a:spLocks noGrp="1"/>
          </p:cNvSpPr>
          <p:nvPr>
            <p:ph type="title"/>
          </p:nvPr>
        </p:nvSpPr>
        <p:spPr/>
        <p:txBody>
          <a:bodyPr/>
          <a:lstStyle/>
          <a:p>
            <a:pPr algn="l" rtl="0"/>
            <a:r>
              <a:rPr lang="fr-fr" b="0" i="0" u="none" baseline="0" dirty="0">
                <a:cs typeface="Segoe UI"/>
              </a:rPr>
              <a:t>Assurez le suivi et n</a:t>
            </a:r>
            <a:r>
              <a:rPr lang="fr-FR" b="0" i="0" u="none" baseline="0" dirty="0">
                <a:cs typeface="Segoe UI"/>
              </a:rPr>
              <a:t>’</a:t>
            </a:r>
            <a:r>
              <a:rPr lang="fr-fr" b="0" i="0" u="none" baseline="0" dirty="0">
                <a:cs typeface="Segoe UI"/>
              </a:rPr>
              <a:t>oubliez rien</a:t>
            </a:r>
          </a:p>
        </p:txBody>
      </p:sp>
      <p:grpSp>
        <p:nvGrpSpPr>
          <p:cNvPr id="2" name="Group 1">
            <a:extLst>
              <a:ext uri="{FF2B5EF4-FFF2-40B4-BE49-F238E27FC236}">
                <a16:creationId xmlns:a16="http://schemas.microsoft.com/office/drawing/2014/main" id="{A3F10915-8B6D-41AD-96AC-96499C12C8A8}"/>
              </a:ext>
            </a:extLst>
          </p:cNvPr>
          <p:cNvGrpSpPr/>
          <p:nvPr/>
        </p:nvGrpSpPr>
        <p:grpSpPr>
          <a:xfrm>
            <a:off x="5699126" y="1299369"/>
            <a:ext cx="6492875" cy="4838697"/>
            <a:chOff x="5699126" y="1409699"/>
            <a:chExt cx="6492875" cy="4838697"/>
          </a:xfrm>
        </p:grpSpPr>
        <p:sp>
          <p:nvSpPr>
            <p:cNvPr id="20" name="Rectangle: Top Corners Rounded 19">
              <a:extLst>
                <a:ext uri="{FF2B5EF4-FFF2-40B4-BE49-F238E27FC236}">
                  <a16:creationId xmlns:a16="http://schemas.microsoft.com/office/drawing/2014/main" id="{4CF1A352-8233-406C-9DD3-03D74B9AE375}"/>
                </a:ext>
              </a:extLst>
            </p:cNvPr>
            <p:cNvSpPr/>
            <p:nvPr/>
          </p:nvSpPr>
          <p:spPr bwMode="auto">
            <a:xfrm rot="16200000">
              <a:off x="6526215" y="582610"/>
              <a:ext cx="4838697" cy="6492875"/>
            </a:xfrm>
            <a:prstGeom prst="round2SameRect">
              <a:avLst>
                <a:gd name="adj1" fmla="val 1874"/>
                <a:gd name="adj2" fmla="val 0"/>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rtl="0" fontAlgn="base">
                <a:spcBef>
                  <a:spcPct val="0"/>
                </a:spcBef>
                <a:spcAft>
                  <a:spcPct val="0"/>
                </a:spcAft>
              </a:pPr>
              <a:endParaRPr lang="fr-fr" sz="2400" dirty="0">
                <a:gradFill>
                  <a:gsLst>
                    <a:gs pos="0">
                      <a:srgbClr val="FFFFFF"/>
                    </a:gs>
                    <a:gs pos="100000">
                      <a:srgbClr val="FFFFFF"/>
                    </a:gs>
                  </a:gsLst>
                  <a:lin ang="5400000" scaled="0"/>
                </a:gradFill>
                <a:cs typeface="Segoe UI" pitchFamily="34" charset="0"/>
              </a:endParaRPr>
            </a:p>
          </p:txBody>
        </p:sp>
        <p:pic>
          <p:nvPicPr>
            <p:cNvPr id="22" name="Picture 21" descr="A screen shot of a person&#10;&#10;Description generated with very high confidence">
              <a:extLst>
                <a:ext uri="{FF2B5EF4-FFF2-40B4-BE49-F238E27FC236}">
                  <a16:creationId xmlns:a16="http://schemas.microsoft.com/office/drawing/2014/main" id="{0CCE4146-F615-4BCF-B779-784180A5D60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853" t="498" b="705"/>
            <a:stretch/>
          </p:blipFill>
          <p:spPr>
            <a:xfrm>
              <a:off x="5840805" y="1556443"/>
              <a:ext cx="6351196" cy="4545208"/>
            </a:xfrm>
            <a:custGeom>
              <a:avLst/>
              <a:gdLst>
                <a:gd name="connsiteX0" fmla="*/ 95268 w 6351196"/>
                <a:gd name="connsiteY0" fmla="*/ 0 h 4545208"/>
                <a:gd name="connsiteX1" fmla="*/ 6255929 w 6351196"/>
                <a:gd name="connsiteY1" fmla="*/ 0 h 4545208"/>
                <a:gd name="connsiteX2" fmla="*/ 6343710 w 6351196"/>
                <a:gd name="connsiteY2" fmla="*/ 58186 h 4545208"/>
                <a:gd name="connsiteX3" fmla="*/ 6351196 w 6351196"/>
                <a:gd name="connsiteY3" fmla="*/ 95263 h 4545208"/>
                <a:gd name="connsiteX4" fmla="*/ 6351196 w 6351196"/>
                <a:gd name="connsiteY4" fmla="*/ 4449945 h 4545208"/>
                <a:gd name="connsiteX5" fmla="*/ 6343710 w 6351196"/>
                <a:gd name="connsiteY5" fmla="*/ 4487023 h 4545208"/>
                <a:gd name="connsiteX6" fmla="*/ 6255929 w 6351196"/>
                <a:gd name="connsiteY6" fmla="*/ 4545208 h 4545208"/>
                <a:gd name="connsiteX7" fmla="*/ 95268 w 6351196"/>
                <a:gd name="connsiteY7" fmla="*/ 4545208 h 4545208"/>
                <a:gd name="connsiteX8" fmla="*/ 0 w 6351196"/>
                <a:gd name="connsiteY8" fmla="*/ 4449940 h 4545208"/>
                <a:gd name="connsiteX9" fmla="*/ 0 w 6351196"/>
                <a:gd name="connsiteY9" fmla="*/ 95268 h 4545208"/>
                <a:gd name="connsiteX10" fmla="*/ 95268 w 6351196"/>
                <a:gd name="connsiteY10" fmla="*/ 0 h 4545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51196" h="4545208">
                  <a:moveTo>
                    <a:pt x="95268" y="0"/>
                  </a:moveTo>
                  <a:lnTo>
                    <a:pt x="6255929" y="0"/>
                  </a:lnTo>
                  <a:cubicBezTo>
                    <a:pt x="6295390" y="0"/>
                    <a:pt x="6329248" y="23992"/>
                    <a:pt x="6343710" y="58186"/>
                  </a:cubicBezTo>
                  <a:lnTo>
                    <a:pt x="6351196" y="95263"/>
                  </a:lnTo>
                  <a:lnTo>
                    <a:pt x="6351196" y="4449945"/>
                  </a:lnTo>
                  <a:lnTo>
                    <a:pt x="6343710" y="4487023"/>
                  </a:lnTo>
                  <a:cubicBezTo>
                    <a:pt x="6329248" y="4521216"/>
                    <a:pt x="6295390" y="4545208"/>
                    <a:pt x="6255929" y="4545208"/>
                  </a:cubicBezTo>
                  <a:lnTo>
                    <a:pt x="95268" y="4545208"/>
                  </a:lnTo>
                  <a:cubicBezTo>
                    <a:pt x="42653" y="4545208"/>
                    <a:pt x="0" y="4502555"/>
                    <a:pt x="0" y="4449940"/>
                  </a:cubicBezTo>
                  <a:lnTo>
                    <a:pt x="0" y="95268"/>
                  </a:lnTo>
                  <a:cubicBezTo>
                    <a:pt x="0" y="42653"/>
                    <a:pt x="42653" y="0"/>
                    <a:pt x="95268" y="0"/>
                  </a:cubicBezTo>
                  <a:close/>
                </a:path>
              </a:pathLst>
            </a:custGeom>
          </p:spPr>
        </p:pic>
      </p:grpSp>
      <p:grpSp>
        <p:nvGrpSpPr>
          <p:cNvPr id="3" name="Group 2">
            <a:extLst>
              <a:ext uri="{FF2B5EF4-FFF2-40B4-BE49-F238E27FC236}">
                <a16:creationId xmlns:a16="http://schemas.microsoft.com/office/drawing/2014/main" id="{471BF787-8CA4-4F0E-8448-1493AFDE410B}"/>
              </a:ext>
            </a:extLst>
          </p:cNvPr>
          <p:cNvGrpSpPr/>
          <p:nvPr/>
        </p:nvGrpSpPr>
        <p:grpSpPr>
          <a:xfrm>
            <a:off x="11082530" y="394996"/>
            <a:ext cx="1109472" cy="553999"/>
            <a:chOff x="11082530" y="394996"/>
            <a:chExt cx="1109472" cy="553999"/>
          </a:xfrm>
        </p:grpSpPr>
        <p:sp>
          <p:nvSpPr>
            <p:cNvPr id="16" name="Rectangle: Top Corners Rounded 15">
              <a:extLst>
                <a:ext uri="{FF2B5EF4-FFF2-40B4-BE49-F238E27FC236}">
                  <a16:creationId xmlns:a16="http://schemas.microsoft.com/office/drawing/2014/main" id="{C6C8C4A3-1879-4F4B-BE28-8383E906A5E4}"/>
                </a:ext>
              </a:extLst>
            </p:cNvPr>
            <p:cNvSpPr/>
            <p:nvPr/>
          </p:nvSpPr>
          <p:spPr bwMode="auto">
            <a:xfrm rot="16200000">
              <a:off x="11360266" y="117260"/>
              <a:ext cx="553999" cy="1109472"/>
            </a:xfrm>
            <a:prstGeom prst="round2SameRect">
              <a:avLst>
                <a:gd name="adj1" fmla="val 50000"/>
                <a:gd name="adj2" fmla="val 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8" name="Oval 17">
              <a:extLst>
                <a:ext uri="{FF2B5EF4-FFF2-40B4-BE49-F238E27FC236}">
                  <a16:creationId xmlns:a16="http://schemas.microsoft.com/office/drawing/2014/main" id="{7EF4A6A2-DB24-4A2C-92CD-DB2BE5AAD697}"/>
                </a:ext>
              </a:extLst>
            </p:cNvPr>
            <p:cNvSpPr/>
            <p:nvPr/>
          </p:nvSpPr>
          <p:spPr bwMode="auto">
            <a:xfrm>
              <a:off x="11107990" y="418917"/>
              <a:ext cx="506160" cy="50615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rtl="0" fontAlgn="base">
                <a:lnSpc>
                  <a:spcPct val="90000"/>
                </a:lnSpc>
                <a:spcBef>
                  <a:spcPct val="0"/>
                </a:spcBef>
                <a:spcAft>
                  <a:spcPct val="0"/>
                </a:spcAft>
              </a:pPr>
              <a:endParaRPr lang="fr-fr" sz="2400" dirty="0">
                <a:gradFill>
                  <a:gsLst>
                    <a:gs pos="0">
                      <a:srgbClr val="FFFFFF"/>
                    </a:gs>
                    <a:gs pos="100000">
                      <a:srgbClr val="FFFFFF"/>
                    </a:gs>
                  </a:gsLst>
                  <a:lin ang="5400000" scaled="0"/>
                </a:gradFill>
                <a:ea typeface="Segoe UI" pitchFamily="34" charset="0"/>
                <a:cs typeface="Segoe UI" pitchFamily="34" charset="0"/>
              </a:endParaRPr>
            </a:p>
          </p:txBody>
        </p:sp>
        <p:sp>
          <p:nvSpPr>
            <p:cNvPr id="25" name="phone_4" title="Icon of a phone">
              <a:extLst>
                <a:ext uri="{FF2B5EF4-FFF2-40B4-BE49-F238E27FC236}">
                  <a16:creationId xmlns:a16="http://schemas.microsoft.com/office/drawing/2014/main" id="{DDD8AFF3-DE0A-44A1-8CE1-E48708588845}"/>
                </a:ext>
              </a:extLst>
            </p:cNvPr>
            <p:cNvSpPr>
              <a:spLocks noChangeAspect="1"/>
            </p:cNvSpPr>
            <p:nvPr/>
          </p:nvSpPr>
          <p:spPr bwMode="auto">
            <a:xfrm>
              <a:off x="11227393" y="538866"/>
              <a:ext cx="267354" cy="266260"/>
            </a:xfrm>
            <a:custGeom>
              <a:avLst/>
              <a:gdLst>
                <a:gd name="T0" fmla="*/ 274 w 339"/>
                <a:gd name="T1" fmla="*/ 333 h 336"/>
                <a:gd name="T2" fmla="*/ 0 w 339"/>
                <a:gd name="T3" fmla="*/ 71 h 336"/>
                <a:gd name="T4" fmla="*/ 38 w 339"/>
                <a:gd name="T5" fmla="*/ 12 h 336"/>
                <a:gd name="T6" fmla="*/ 76 w 339"/>
                <a:gd name="T7" fmla="*/ 14 h 336"/>
                <a:gd name="T8" fmla="*/ 118 w 339"/>
                <a:gd name="T9" fmla="*/ 53 h 336"/>
                <a:gd name="T10" fmla="*/ 116 w 339"/>
                <a:gd name="T11" fmla="*/ 91 h 336"/>
                <a:gd name="T12" fmla="*/ 99 w 339"/>
                <a:gd name="T13" fmla="*/ 105 h 336"/>
                <a:gd name="T14" fmla="*/ 98 w 339"/>
                <a:gd name="T15" fmla="*/ 143 h 336"/>
                <a:gd name="T16" fmla="*/ 193 w 339"/>
                <a:gd name="T17" fmla="*/ 239 h 336"/>
                <a:gd name="T18" fmla="*/ 231 w 339"/>
                <a:gd name="T19" fmla="*/ 240 h 336"/>
                <a:gd name="T20" fmla="*/ 250 w 339"/>
                <a:gd name="T21" fmla="*/ 219 h 336"/>
                <a:gd name="T22" fmla="*/ 287 w 339"/>
                <a:gd name="T23" fmla="*/ 221 h 336"/>
                <a:gd name="T24" fmla="*/ 329 w 339"/>
                <a:gd name="T25" fmla="*/ 260 h 336"/>
                <a:gd name="T26" fmla="*/ 328 w 339"/>
                <a:gd name="T27" fmla="*/ 298 h 336"/>
                <a:gd name="T28" fmla="*/ 274 w 339"/>
                <a:gd name="T29" fmla="*/ 333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9" h="336">
                  <a:moveTo>
                    <a:pt x="274" y="333"/>
                  </a:moveTo>
                  <a:cubicBezTo>
                    <a:pt x="126" y="336"/>
                    <a:pt x="3" y="219"/>
                    <a:pt x="0" y="71"/>
                  </a:cubicBezTo>
                  <a:cubicBezTo>
                    <a:pt x="0" y="71"/>
                    <a:pt x="3" y="41"/>
                    <a:pt x="38" y="12"/>
                  </a:cubicBezTo>
                  <a:cubicBezTo>
                    <a:pt x="54" y="0"/>
                    <a:pt x="66" y="3"/>
                    <a:pt x="76" y="14"/>
                  </a:cubicBezTo>
                  <a:cubicBezTo>
                    <a:pt x="118" y="53"/>
                    <a:pt x="118" y="53"/>
                    <a:pt x="118" y="53"/>
                  </a:cubicBezTo>
                  <a:cubicBezTo>
                    <a:pt x="128" y="64"/>
                    <a:pt x="127" y="81"/>
                    <a:pt x="116" y="91"/>
                  </a:cubicBezTo>
                  <a:cubicBezTo>
                    <a:pt x="99" y="105"/>
                    <a:pt x="99" y="105"/>
                    <a:pt x="99" y="105"/>
                  </a:cubicBezTo>
                  <a:cubicBezTo>
                    <a:pt x="88" y="115"/>
                    <a:pt x="88" y="132"/>
                    <a:pt x="98" y="143"/>
                  </a:cubicBezTo>
                  <a:cubicBezTo>
                    <a:pt x="193" y="239"/>
                    <a:pt x="193" y="239"/>
                    <a:pt x="193" y="239"/>
                  </a:cubicBezTo>
                  <a:cubicBezTo>
                    <a:pt x="203" y="249"/>
                    <a:pt x="220" y="250"/>
                    <a:pt x="231" y="240"/>
                  </a:cubicBezTo>
                  <a:cubicBezTo>
                    <a:pt x="250" y="219"/>
                    <a:pt x="250" y="219"/>
                    <a:pt x="250" y="219"/>
                  </a:cubicBezTo>
                  <a:cubicBezTo>
                    <a:pt x="260" y="209"/>
                    <a:pt x="277" y="210"/>
                    <a:pt x="287" y="221"/>
                  </a:cubicBezTo>
                  <a:cubicBezTo>
                    <a:pt x="329" y="260"/>
                    <a:pt x="329" y="260"/>
                    <a:pt x="329" y="260"/>
                  </a:cubicBezTo>
                  <a:cubicBezTo>
                    <a:pt x="339" y="271"/>
                    <a:pt x="337" y="286"/>
                    <a:pt x="328" y="298"/>
                  </a:cubicBezTo>
                  <a:cubicBezTo>
                    <a:pt x="302" y="330"/>
                    <a:pt x="274" y="333"/>
                    <a:pt x="274" y="333"/>
                  </a:cubicBezTo>
                  <a:close/>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b="1" dirty="0">
                <a:gradFill>
                  <a:gsLst>
                    <a:gs pos="0">
                      <a:srgbClr val="505050"/>
                    </a:gs>
                    <a:gs pos="100000">
                      <a:srgbClr val="505050"/>
                    </a:gs>
                  </a:gsLst>
                </a:gradFill>
                <a:cs typeface="Segoe UI"/>
              </a:endParaRPr>
            </a:p>
          </p:txBody>
        </p:sp>
      </p:grpSp>
    </p:spTree>
    <p:extLst>
      <p:ext uri="{BB962C8B-B14F-4D97-AF65-F5344CB8AC3E}">
        <p14:creationId xmlns:p14="http://schemas.microsoft.com/office/powerpoint/2010/main" val="3350795843"/>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38">
            <a:extLst>
              <a:ext uri="{FF2B5EF4-FFF2-40B4-BE49-F238E27FC236}">
                <a16:creationId xmlns:a16="http://schemas.microsoft.com/office/drawing/2014/main" id="{6CD35FB6-8EE6-4C71-9241-013DD689E049}"/>
              </a:ext>
            </a:extLst>
          </p:cNvPr>
          <p:cNvSpPr>
            <a:spLocks noGrp="1"/>
          </p:cNvSpPr>
          <p:nvPr>
            <p:ph type="title"/>
          </p:nvPr>
        </p:nvSpPr>
        <p:spPr>
          <a:xfrm>
            <a:off x="588263" y="180201"/>
            <a:ext cx="11018520" cy="1107996"/>
          </a:xfrm>
        </p:spPr>
        <p:txBody>
          <a:bodyPr/>
          <a:lstStyle/>
          <a:p>
            <a:pPr algn="l" rtl="0"/>
            <a:r>
              <a:rPr lang="fr-fr" b="0" i="0" u="none" baseline="0" dirty="0">
                <a:cs typeface="Segoe UI"/>
              </a:rPr>
              <a:t>Microsoft Teams : un succès croissant auprès </a:t>
            </a:r>
            <a:br>
              <a:rPr lang="fr-fr" b="0" i="0" u="none" baseline="0" dirty="0"/>
            </a:br>
            <a:r>
              <a:rPr lang="fr-fr" b="0" i="0" u="none" baseline="0" dirty="0">
                <a:cs typeface="Segoe UI"/>
              </a:rPr>
              <a:t>des équipes dans le monde entier</a:t>
            </a:r>
          </a:p>
        </p:txBody>
      </p:sp>
      <p:sp>
        <p:nvSpPr>
          <p:cNvPr id="4" name="Rectangle 3">
            <a:extLst>
              <a:ext uri="{FF2B5EF4-FFF2-40B4-BE49-F238E27FC236}">
                <a16:creationId xmlns:a16="http://schemas.microsoft.com/office/drawing/2014/main" id="{693DCB59-2692-422D-96FB-A09F0F4055A7}"/>
              </a:ext>
            </a:extLst>
          </p:cNvPr>
          <p:cNvSpPr/>
          <p:nvPr/>
        </p:nvSpPr>
        <p:spPr bwMode="auto">
          <a:xfrm>
            <a:off x="0" y="1451430"/>
            <a:ext cx="12192000" cy="1317170"/>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5" name="Rectangle 4">
            <a:extLst>
              <a:ext uri="{FF2B5EF4-FFF2-40B4-BE49-F238E27FC236}">
                <a16:creationId xmlns:a16="http://schemas.microsoft.com/office/drawing/2014/main" id="{AAA034EC-478D-407C-A6FD-02547CDB2045}"/>
              </a:ext>
            </a:extLst>
          </p:cNvPr>
          <p:cNvSpPr/>
          <p:nvPr/>
        </p:nvSpPr>
        <p:spPr bwMode="auto">
          <a:xfrm>
            <a:off x="595085" y="1789794"/>
            <a:ext cx="3507237" cy="3785506"/>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80" name="Rectangle 179">
            <a:extLst>
              <a:ext uri="{FF2B5EF4-FFF2-40B4-BE49-F238E27FC236}">
                <a16:creationId xmlns:a16="http://schemas.microsoft.com/office/drawing/2014/main" id="{7347394E-D254-4F5F-987A-8BD409B7F078}"/>
              </a:ext>
            </a:extLst>
          </p:cNvPr>
          <p:cNvSpPr/>
          <p:nvPr/>
        </p:nvSpPr>
        <p:spPr bwMode="auto">
          <a:xfrm>
            <a:off x="4348618" y="1789794"/>
            <a:ext cx="3507237" cy="3785506"/>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81" name="Rectangle 180">
            <a:extLst>
              <a:ext uri="{FF2B5EF4-FFF2-40B4-BE49-F238E27FC236}">
                <a16:creationId xmlns:a16="http://schemas.microsoft.com/office/drawing/2014/main" id="{10F3862A-7307-4AFF-9F8B-B99DFF748114}"/>
              </a:ext>
            </a:extLst>
          </p:cNvPr>
          <p:cNvSpPr/>
          <p:nvPr/>
        </p:nvSpPr>
        <p:spPr bwMode="auto">
          <a:xfrm>
            <a:off x="8102151" y="1789794"/>
            <a:ext cx="3507237" cy="3785506"/>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83" name="cloud" title="Icon of a cloud">
            <a:extLst>
              <a:ext uri="{FF2B5EF4-FFF2-40B4-BE49-F238E27FC236}">
                <a16:creationId xmlns:a16="http://schemas.microsoft.com/office/drawing/2014/main" id="{E0865D81-324E-46FF-AC22-AC0EDB9B7F27}"/>
              </a:ext>
            </a:extLst>
          </p:cNvPr>
          <p:cNvSpPr>
            <a:spLocks noChangeAspect="1"/>
          </p:cNvSpPr>
          <p:nvPr/>
        </p:nvSpPr>
        <p:spPr bwMode="auto">
          <a:xfrm>
            <a:off x="1349830" y="2041735"/>
            <a:ext cx="1997748" cy="127276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sz="900" dirty="0">
              <a:gradFill>
                <a:gsLst>
                  <a:gs pos="0">
                    <a:srgbClr val="505050"/>
                  </a:gs>
                  <a:gs pos="100000">
                    <a:srgbClr val="505050"/>
                  </a:gs>
                </a:gsLst>
              </a:gradFill>
              <a:cs typeface="Segoe UI"/>
            </a:endParaRPr>
          </a:p>
        </p:txBody>
      </p:sp>
      <p:grpSp>
        <p:nvGrpSpPr>
          <p:cNvPr id="8" name="Group 7">
            <a:extLst>
              <a:ext uri="{FF2B5EF4-FFF2-40B4-BE49-F238E27FC236}">
                <a16:creationId xmlns:a16="http://schemas.microsoft.com/office/drawing/2014/main" id="{A886929F-EC9A-47B4-9C6A-D44BB58613D3}"/>
              </a:ext>
            </a:extLst>
          </p:cNvPr>
          <p:cNvGrpSpPr/>
          <p:nvPr/>
        </p:nvGrpSpPr>
        <p:grpSpPr>
          <a:xfrm>
            <a:off x="802127" y="3537768"/>
            <a:ext cx="3093154" cy="1763940"/>
            <a:chOff x="802127" y="3470044"/>
            <a:chExt cx="3093154" cy="1763940"/>
          </a:xfrm>
        </p:grpSpPr>
        <p:sp>
          <p:nvSpPr>
            <p:cNvPr id="185" name="TextBox 184">
              <a:extLst>
                <a:ext uri="{FF2B5EF4-FFF2-40B4-BE49-F238E27FC236}">
                  <a16:creationId xmlns:a16="http://schemas.microsoft.com/office/drawing/2014/main" id="{B92A9C3A-13D0-443B-92BB-61B8947CA0DE}"/>
                </a:ext>
              </a:extLst>
            </p:cNvPr>
            <p:cNvSpPr txBox="1"/>
            <p:nvPr/>
          </p:nvSpPr>
          <p:spPr>
            <a:xfrm>
              <a:off x="1429524" y="3470044"/>
              <a:ext cx="1838359" cy="1530419"/>
            </a:xfrm>
            <a:prstGeom prst="rect">
              <a:avLst/>
            </a:prstGeom>
            <a:noFill/>
          </p:spPr>
          <p:txBody>
            <a:bodyPr wrap="square" lIns="0" tIns="0" rIns="0" bIns="0" rtlCol="0" anchor="t">
              <a:spAutoFit/>
            </a:bodyPr>
            <a:lstStyle/>
            <a:p>
              <a:pPr algn="ctr" rtl="0">
                <a:lnSpc>
                  <a:spcPct val="85000"/>
                </a:lnSpc>
              </a:pPr>
              <a:r>
                <a:rPr lang="fr-fr" sz="7800" b="0" i="0" u="none" baseline="0" dirty="0">
                  <a:solidFill>
                    <a:srgbClr val="4B53BC"/>
                  </a:solidFill>
                  <a:latin typeface="+mj-lt"/>
                </a:rPr>
                <a:t>44</a:t>
              </a:r>
              <a:br>
                <a:rPr lang="fr-fr" sz="7800" dirty="0">
                  <a:latin typeface="+mj-lt"/>
                </a:rPr>
              </a:br>
              <a:r>
                <a:rPr lang="fr-fr" sz="3600" b="0" i="0" u="none" baseline="0" dirty="0">
                  <a:solidFill>
                    <a:srgbClr val="4B53BC"/>
                  </a:solidFill>
                  <a:latin typeface="Segoe UI Semibold"/>
                </a:rPr>
                <a:t>millions</a:t>
              </a:r>
              <a:endParaRPr lang="fr-fr" sz="2000" dirty="0">
                <a:solidFill>
                  <a:srgbClr val="4B53BC"/>
                </a:solidFill>
                <a:cs typeface="Segoe UI"/>
              </a:endParaRPr>
            </a:p>
          </p:txBody>
        </p:sp>
        <p:sp>
          <p:nvSpPr>
            <p:cNvPr id="186" name="Rectangle 185">
              <a:extLst>
                <a:ext uri="{FF2B5EF4-FFF2-40B4-BE49-F238E27FC236}">
                  <a16:creationId xmlns:a16="http://schemas.microsoft.com/office/drawing/2014/main" id="{3A9F9569-0C3D-4192-8435-A07AC801AD5C}"/>
                </a:ext>
              </a:extLst>
            </p:cNvPr>
            <p:cNvSpPr/>
            <p:nvPr/>
          </p:nvSpPr>
          <p:spPr>
            <a:xfrm>
              <a:off x="802127" y="4987763"/>
              <a:ext cx="3093154" cy="246221"/>
            </a:xfrm>
            <a:prstGeom prst="rect">
              <a:avLst/>
            </a:prstGeom>
          </p:spPr>
          <p:txBody>
            <a:bodyPr wrap="none" lIns="0" tIns="0" rIns="0" bIns="0" anchor="t">
              <a:spAutoFit/>
            </a:bodyPr>
            <a:lstStyle/>
            <a:p>
              <a:pPr algn="ctr" rtl="0"/>
              <a:r>
                <a:rPr lang="fr-fr" sz="1600" b="0" i="1" u="none" baseline="0" dirty="0"/>
                <a:t>d</a:t>
              </a:r>
              <a:r>
                <a:rPr lang="fr-FR" sz="1600" b="0" i="1" u="none" baseline="0" dirty="0"/>
                <a:t>’</a:t>
              </a:r>
              <a:r>
                <a:rPr lang="fr-fr" sz="1600" b="0" i="1" u="none" baseline="0" dirty="0"/>
                <a:t>utilisateurs de Teams chaque jour</a:t>
              </a:r>
              <a:endParaRPr lang="fr-fr" sz="1600" b="0" i="1" u="none" baseline="0" dirty="0">
                <a:cs typeface="Segoe UI"/>
              </a:endParaRPr>
            </a:p>
          </p:txBody>
        </p:sp>
      </p:grpSp>
      <p:sp>
        <p:nvSpPr>
          <p:cNvPr id="7" name="Rectangle 6">
            <a:extLst>
              <a:ext uri="{FF2B5EF4-FFF2-40B4-BE49-F238E27FC236}">
                <a16:creationId xmlns:a16="http://schemas.microsoft.com/office/drawing/2014/main" id="{B1B20118-8954-4A91-AB54-6CF3BF90613A}"/>
              </a:ext>
            </a:extLst>
          </p:cNvPr>
          <p:cNvSpPr/>
          <p:nvPr/>
        </p:nvSpPr>
        <p:spPr bwMode="auto">
          <a:xfrm>
            <a:off x="0" y="5845047"/>
            <a:ext cx="12192000" cy="43088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algn="ctr" defTabSz="932472" rtl="0" fontAlgn="base">
              <a:spcBef>
                <a:spcPct val="0"/>
              </a:spcBef>
              <a:spcAft>
                <a:spcPct val="0"/>
              </a:spcAft>
            </a:pPr>
            <a:r>
              <a:rPr lang="fr-fr" sz="1600" b="1" i="0" u="none" baseline="0" dirty="0">
                <a:solidFill>
                  <a:schemeClr val="tx1"/>
                </a:solidFill>
                <a:ea typeface="Segoe UI" pitchFamily="34" charset="0"/>
                <a:cs typeface="Segoe UI"/>
              </a:rPr>
              <a:t>Source :</a:t>
            </a:r>
            <a:r>
              <a:rPr lang="fr-fr" sz="1600" b="0" i="0" u="none" baseline="0" dirty="0">
                <a:solidFill>
                  <a:schemeClr val="tx1"/>
                </a:solidFill>
                <a:ea typeface="Segoe UI" pitchFamily="34" charset="0"/>
                <a:cs typeface="Segoe UI"/>
              </a:rPr>
              <a:t> </a:t>
            </a:r>
            <a:r>
              <a:rPr lang="fr-fr" sz="1600" b="0" i="1" u="none" baseline="0" dirty="0">
                <a:solidFill>
                  <a:srgbClr val="4B53BC"/>
                </a:solidFill>
                <a:ea typeface="Segoe UI" pitchFamily="34" charset="0"/>
                <a:cs typeface="Segoe UI"/>
                <a:hlinkClick r:id="rId3">
                  <a:extLst>
                    <a:ext uri="{A12FA001-AC4F-418D-AE19-62706E023703}">
                      <ahyp:hlinkClr xmlns:ahyp="http://schemas.microsoft.com/office/drawing/2018/hyperlinkcolor" val="tx"/>
                    </a:ext>
                  </a:extLst>
                </a:hlinkClick>
              </a:rPr>
              <a:t>https://www.theverge.com/2020/4/9/21214314/microsoft-teams-usage-coronavirus-pandemic-work-habit-change</a:t>
            </a:r>
            <a:endParaRPr lang="fr-fr" sz="1600" i="1" dirty="0">
              <a:solidFill>
                <a:srgbClr val="4B53BC"/>
              </a:solidFill>
              <a:ea typeface="Segoe UI" pitchFamily="34" charset="0"/>
              <a:cs typeface="Segoe UI"/>
            </a:endParaRPr>
          </a:p>
        </p:txBody>
      </p:sp>
      <p:sp>
        <p:nvSpPr>
          <p:cNvPr id="187" name="TextBox 186">
            <a:extLst>
              <a:ext uri="{FF2B5EF4-FFF2-40B4-BE49-F238E27FC236}">
                <a16:creationId xmlns:a16="http://schemas.microsoft.com/office/drawing/2014/main" id="{0770263B-2567-413C-8E47-65D31804A627}"/>
              </a:ext>
            </a:extLst>
          </p:cNvPr>
          <p:cNvSpPr txBox="1"/>
          <p:nvPr/>
        </p:nvSpPr>
        <p:spPr>
          <a:xfrm>
            <a:off x="4739950" y="2085680"/>
            <a:ext cx="2724572" cy="1015663"/>
          </a:xfrm>
          <a:prstGeom prst="rect">
            <a:avLst/>
          </a:prstGeom>
          <a:noFill/>
        </p:spPr>
        <p:txBody>
          <a:bodyPr wrap="square" lIns="0" tIns="0" rIns="0" bIns="0" rtlCol="0" anchor="ctr">
            <a:spAutoFit/>
          </a:bodyPr>
          <a:lstStyle/>
          <a:p>
            <a:pPr algn="ctr" rtl="0">
              <a:spcAft>
                <a:spcPts val="588"/>
              </a:spcAft>
            </a:pPr>
            <a:r>
              <a:rPr lang="fr-fr" sz="6600" b="0" i="0" u="none" baseline="0" dirty="0">
                <a:solidFill>
                  <a:srgbClr val="4B53BC"/>
                </a:solidFill>
                <a:latin typeface="+mj-lt"/>
              </a:rPr>
              <a:t>1 000</a:t>
            </a:r>
            <a:r>
              <a:rPr lang="fr-fr" sz="4400" b="0" i="0" u="none" baseline="0" dirty="0">
                <a:solidFill>
                  <a:srgbClr val="4B53BC"/>
                </a:solidFill>
                <a:latin typeface="+mj-lt"/>
              </a:rPr>
              <a:t> %</a:t>
            </a:r>
            <a:endParaRPr lang="fr-fr" sz="4800">
              <a:solidFill>
                <a:srgbClr val="4B53BC"/>
              </a:solidFill>
              <a:latin typeface="+mj-lt"/>
              <a:cs typeface="Segoe UI Semibold"/>
            </a:endParaRPr>
          </a:p>
        </p:txBody>
      </p:sp>
      <p:sp>
        <p:nvSpPr>
          <p:cNvPr id="188" name="Rectangle 187">
            <a:extLst>
              <a:ext uri="{FF2B5EF4-FFF2-40B4-BE49-F238E27FC236}">
                <a16:creationId xmlns:a16="http://schemas.microsoft.com/office/drawing/2014/main" id="{6560402E-030A-485A-91FB-D2FB5C9F6041}"/>
              </a:ext>
            </a:extLst>
          </p:cNvPr>
          <p:cNvSpPr/>
          <p:nvPr/>
        </p:nvSpPr>
        <p:spPr>
          <a:xfrm>
            <a:off x="4659598" y="3098603"/>
            <a:ext cx="2885277" cy="246221"/>
          </a:xfrm>
          <a:prstGeom prst="rect">
            <a:avLst/>
          </a:prstGeom>
        </p:spPr>
        <p:txBody>
          <a:bodyPr wrap="none" lIns="0" tIns="0" rIns="0" bIns="0" anchor="t">
            <a:spAutoFit/>
          </a:bodyPr>
          <a:lstStyle/>
          <a:p>
            <a:pPr algn="ctr" rtl="0"/>
            <a:r>
              <a:rPr lang="fr-fr" sz="1600" b="0" i="1" u="none" baseline="0" dirty="0"/>
              <a:t>d</a:t>
            </a:r>
            <a:r>
              <a:rPr lang="fr-FR" sz="1600" b="0" i="1" u="none" baseline="0" dirty="0"/>
              <a:t>’</a:t>
            </a:r>
            <a:r>
              <a:rPr lang="fr-fr" sz="1600" b="0" i="1" u="none" baseline="0" dirty="0"/>
              <a:t>augmentation</a:t>
            </a:r>
            <a:r>
              <a:rPr lang="fr-fr" sz="1600" b="0" i="0" u="none" baseline="0" dirty="0"/>
              <a:t> </a:t>
            </a:r>
            <a:r>
              <a:rPr lang="fr-fr" sz="1600" b="0" i="1" u="none" baseline="0" dirty="0"/>
              <a:t>des appels vidéo</a:t>
            </a:r>
            <a:endParaRPr lang="fr-fr" sz="1600" b="0" i="1" u="none" baseline="0" dirty="0">
              <a:cs typeface="Segoe UI"/>
            </a:endParaRPr>
          </a:p>
        </p:txBody>
      </p:sp>
      <p:grpSp>
        <p:nvGrpSpPr>
          <p:cNvPr id="189" name="Group 188">
            <a:extLst>
              <a:ext uri="{FF2B5EF4-FFF2-40B4-BE49-F238E27FC236}">
                <a16:creationId xmlns:a16="http://schemas.microsoft.com/office/drawing/2014/main" id="{FB11F894-5F3F-415E-9E8E-80020A203BF5}"/>
              </a:ext>
            </a:extLst>
          </p:cNvPr>
          <p:cNvGrpSpPr/>
          <p:nvPr/>
        </p:nvGrpSpPr>
        <p:grpSpPr>
          <a:xfrm>
            <a:off x="4465853" y="3544504"/>
            <a:ext cx="3272766" cy="1781246"/>
            <a:chOff x="4175060" y="3424613"/>
            <a:chExt cx="3308453" cy="1800668"/>
          </a:xfrm>
          <a:solidFill>
            <a:schemeClr val="bg1"/>
          </a:solidFill>
        </p:grpSpPr>
        <p:cxnSp>
          <p:nvCxnSpPr>
            <p:cNvPr id="190" name="Straight Connector 189">
              <a:extLst>
                <a:ext uri="{FF2B5EF4-FFF2-40B4-BE49-F238E27FC236}">
                  <a16:creationId xmlns:a16="http://schemas.microsoft.com/office/drawing/2014/main" id="{81ECA901-C008-48CC-B32A-D2751830AFFF}"/>
                </a:ext>
              </a:extLst>
            </p:cNvPr>
            <p:cNvCxnSpPr>
              <a:cxnSpLocks/>
            </p:cNvCxnSpPr>
            <p:nvPr/>
          </p:nvCxnSpPr>
          <p:spPr>
            <a:xfrm>
              <a:off x="6575717" y="3851857"/>
              <a:ext cx="0" cy="994908"/>
            </a:xfrm>
            <a:prstGeom prst="line">
              <a:avLst/>
            </a:prstGeom>
            <a:grpFill/>
            <a:ln w="3175">
              <a:solidFill>
                <a:srgbClr val="4B53BC"/>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BC98060B-62DE-4B6F-B0FF-365AAE4DE0BB}"/>
                </a:ext>
              </a:extLst>
            </p:cNvPr>
            <p:cNvCxnSpPr>
              <a:cxnSpLocks/>
            </p:cNvCxnSpPr>
            <p:nvPr/>
          </p:nvCxnSpPr>
          <p:spPr>
            <a:xfrm>
              <a:off x="7319092" y="3851857"/>
              <a:ext cx="0" cy="994908"/>
            </a:xfrm>
            <a:prstGeom prst="line">
              <a:avLst/>
            </a:prstGeom>
            <a:grpFill/>
            <a:ln w="3175">
              <a:solidFill>
                <a:srgbClr val="4B53BC"/>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E0A2850A-AD7A-4484-B861-22FD8F28A9ED}"/>
                </a:ext>
              </a:extLst>
            </p:cNvPr>
            <p:cNvCxnSpPr>
              <a:cxnSpLocks/>
            </p:cNvCxnSpPr>
            <p:nvPr/>
          </p:nvCxnSpPr>
          <p:spPr>
            <a:xfrm>
              <a:off x="5086131" y="3851857"/>
              <a:ext cx="0" cy="994908"/>
            </a:xfrm>
            <a:prstGeom prst="line">
              <a:avLst/>
            </a:prstGeom>
            <a:grpFill/>
            <a:ln w="3175">
              <a:solidFill>
                <a:srgbClr val="4B53BC"/>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1C6747D0-434A-42D3-A25B-B963E2B3F7EF}"/>
                </a:ext>
              </a:extLst>
            </p:cNvPr>
            <p:cNvCxnSpPr>
              <a:cxnSpLocks/>
            </p:cNvCxnSpPr>
            <p:nvPr/>
          </p:nvCxnSpPr>
          <p:spPr>
            <a:xfrm>
              <a:off x="4345586" y="3851857"/>
              <a:ext cx="0" cy="994908"/>
            </a:xfrm>
            <a:prstGeom prst="line">
              <a:avLst/>
            </a:prstGeom>
            <a:grpFill/>
            <a:ln w="3175">
              <a:solidFill>
                <a:srgbClr val="4B53BC"/>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1E60AFCC-DA55-4D97-9699-0CF27563680D}"/>
                </a:ext>
              </a:extLst>
            </p:cNvPr>
            <p:cNvCxnSpPr>
              <a:cxnSpLocks/>
            </p:cNvCxnSpPr>
            <p:nvPr/>
          </p:nvCxnSpPr>
          <p:spPr>
            <a:xfrm flipH="1">
              <a:off x="4510008" y="5123628"/>
              <a:ext cx="2659756" cy="0"/>
            </a:xfrm>
            <a:prstGeom prst="line">
              <a:avLst/>
            </a:prstGeom>
            <a:grpFill/>
            <a:ln w="3175">
              <a:solidFill>
                <a:srgbClr val="4B53BC"/>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2E359D7C-7482-46DD-A7EE-534E69ED35CF}"/>
                </a:ext>
              </a:extLst>
            </p:cNvPr>
            <p:cNvCxnSpPr>
              <a:cxnSpLocks/>
            </p:cNvCxnSpPr>
            <p:nvPr/>
          </p:nvCxnSpPr>
          <p:spPr>
            <a:xfrm flipH="1">
              <a:off x="4510008" y="3729190"/>
              <a:ext cx="2659756" cy="0"/>
            </a:xfrm>
            <a:prstGeom prst="line">
              <a:avLst/>
            </a:prstGeom>
            <a:grpFill/>
            <a:ln w="3175">
              <a:solidFill>
                <a:srgbClr val="4B53BC"/>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6D346DB4-FD13-422F-B0D5-648787B7CDEE}"/>
                </a:ext>
              </a:extLst>
            </p:cNvPr>
            <p:cNvCxnSpPr>
              <a:cxnSpLocks/>
            </p:cNvCxnSpPr>
            <p:nvPr/>
          </p:nvCxnSpPr>
          <p:spPr>
            <a:xfrm flipH="1">
              <a:off x="4510008" y="4456290"/>
              <a:ext cx="2659756" cy="0"/>
            </a:xfrm>
            <a:prstGeom prst="line">
              <a:avLst/>
            </a:prstGeom>
            <a:grpFill/>
            <a:ln w="3175">
              <a:solidFill>
                <a:srgbClr val="4B53BC"/>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3C9C6A11-325D-424B-B069-0AD0F40B019C}"/>
                </a:ext>
              </a:extLst>
            </p:cNvPr>
            <p:cNvCxnSpPr>
              <a:cxnSpLocks/>
            </p:cNvCxnSpPr>
            <p:nvPr/>
          </p:nvCxnSpPr>
          <p:spPr>
            <a:xfrm>
              <a:off x="5829315" y="3851857"/>
              <a:ext cx="0" cy="994908"/>
            </a:xfrm>
            <a:prstGeom prst="line">
              <a:avLst/>
            </a:prstGeom>
            <a:grpFill/>
            <a:ln w="3175">
              <a:solidFill>
                <a:srgbClr val="4B53BC"/>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99" name="Group 198">
              <a:extLst>
                <a:ext uri="{FF2B5EF4-FFF2-40B4-BE49-F238E27FC236}">
                  <a16:creationId xmlns:a16="http://schemas.microsoft.com/office/drawing/2014/main" id="{72B34754-C6EA-499A-8C5C-4E16AACA3E1A}"/>
                </a:ext>
              </a:extLst>
            </p:cNvPr>
            <p:cNvGrpSpPr/>
            <p:nvPr/>
          </p:nvGrpSpPr>
          <p:grpSpPr>
            <a:xfrm>
              <a:off x="5661871" y="3424613"/>
              <a:ext cx="334889" cy="412304"/>
              <a:chOff x="1672226" y="3323226"/>
              <a:chExt cx="252206" cy="310508"/>
            </a:xfrm>
            <a:grpFill/>
          </p:grpSpPr>
          <p:sp>
            <p:nvSpPr>
              <p:cNvPr id="483" name="Freeform: Shape 482">
                <a:extLst>
                  <a:ext uri="{FF2B5EF4-FFF2-40B4-BE49-F238E27FC236}">
                    <a16:creationId xmlns:a16="http://schemas.microsoft.com/office/drawing/2014/main" id="{B5D75DB2-B311-41E6-84A4-E76BF2165BE5}"/>
                  </a:ext>
                </a:extLst>
              </p:cNvPr>
              <p:cNvSpPr/>
              <p:nvPr/>
            </p:nvSpPr>
            <p:spPr>
              <a:xfrm>
                <a:off x="1676782" y="3460379"/>
                <a:ext cx="247650" cy="142875"/>
              </a:xfrm>
              <a:custGeom>
                <a:avLst/>
                <a:gdLst>
                  <a:gd name="connsiteX0" fmla="*/ 212342 w 247650"/>
                  <a:gd name="connsiteY0" fmla="*/ 137848 h 142875"/>
                  <a:gd name="connsiteX1" fmla="*/ 234250 w 247650"/>
                  <a:gd name="connsiteY1" fmla="*/ 114988 h 142875"/>
                  <a:gd name="connsiteX2" fmla="*/ 238060 w 247650"/>
                  <a:gd name="connsiteY2" fmla="*/ 80698 h 142875"/>
                  <a:gd name="connsiteX3" fmla="*/ 200912 w 247650"/>
                  <a:gd name="connsiteY3" fmla="*/ 19738 h 142875"/>
                  <a:gd name="connsiteX4" fmla="*/ 179005 w 247650"/>
                  <a:gd name="connsiteY4" fmla="*/ 7355 h 142875"/>
                  <a:gd name="connsiteX5" fmla="*/ 123760 w 247650"/>
                  <a:gd name="connsiteY5" fmla="*/ 7355 h 142875"/>
                  <a:gd name="connsiteX6" fmla="*/ 71372 w 247650"/>
                  <a:gd name="connsiteY6" fmla="*/ 7355 h 142875"/>
                  <a:gd name="connsiteX7" fmla="*/ 48512 w 247650"/>
                  <a:gd name="connsiteY7" fmla="*/ 19738 h 142875"/>
                  <a:gd name="connsiteX8" fmla="*/ 11365 w 247650"/>
                  <a:gd name="connsiteY8" fmla="*/ 80698 h 142875"/>
                  <a:gd name="connsiteX9" fmla="*/ 15175 w 247650"/>
                  <a:gd name="connsiteY9" fmla="*/ 114988 h 142875"/>
                  <a:gd name="connsiteX10" fmla="*/ 37082 w 247650"/>
                  <a:gd name="connsiteY10" fmla="*/ 13784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142875">
                    <a:moveTo>
                      <a:pt x="212342" y="137848"/>
                    </a:moveTo>
                    <a:cubicBezTo>
                      <a:pt x="234250" y="114988"/>
                      <a:pt x="234250" y="114988"/>
                      <a:pt x="234250" y="114988"/>
                    </a:cubicBezTo>
                    <a:cubicBezTo>
                      <a:pt x="242822" y="105463"/>
                      <a:pt x="244727" y="92128"/>
                      <a:pt x="238060" y="80698"/>
                    </a:cubicBezTo>
                    <a:cubicBezTo>
                      <a:pt x="200912" y="19738"/>
                      <a:pt x="200912" y="19738"/>
                      <a:pt x="200912" y="19738"/>
                    </a:cubicBezTo>
                    <a:cubicBezTo>
                      <a:pt x="196150" y="12118"/>
                      <a:pt x="187577" y="7355"/>
                      <a:pt x="179005" y="7355"/>
                    </a:cubicBezTo>
                    <a:cubicBezTo>
                      <a:pt x="123760" y="7355"/>
                      <a:pt x="123760" y="7355"/>
                      <a:pt x="123760" y="7355"/>
                    </a:cubicBezTo>
                    <a:cubicBezTo>
                      <a:pt x="71372" y="7355"/>
                      <a:pt x="71372" y="7355"/>
                      <a:pt x="71372" y="7355"/>
                    </a:cubicBezTo>
                    <a:cubicBezTo>
                      <a:pt x="61847" y="7355"/>
                      <a:pt x="54227" y="12118"/>
                      <a:pt x="48512" y="19738"/>
                    </a:cubicBezTo>
                    <a:cubicBezTo>
                      <a:pt x="11365" y="80698"/>
                      <a:pt x="11365" y="80698"/>
                      <a:pt x="11365" y="80698"/>
                    </a:cubicBezTo>
                    <a:cubicBezTo>
                      <a:pt x="4697" y="91175"/>
                      <a:pt x="6602" y="105463"/>
                      <a:pt x="15175" y="114988"/>
                    </a:cubicBezTo>
                    <a:cubicBezTo>
                      <a:pt x="37082" y="137848"/>
                      <a:pt x="37082" y="137848"/>
                      <a:pt x="37082" y="137848"/>
                    </a:cubicBez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84" name="Freeform: Shape 483">
                <a:extLst>
                  <a:ext uri="{FF2B5EF4-FFF2-40B4-BE49-F238E27FC236}">
                    <a16:creationId xmlns:a16="http://schemas.microsoft.com/office/drawing/2014/main" id="{BD44A692-83FE-4031-A534-8236DB8EC1E1}"/>
                  </a:ext>
                </a:extLst>
              </p:cNvPr>
              <p:cNvSpPr/>
              <p:nvPr/>
            </p:nvSpPr>
            <p:spPr>
              <a:xfrm>
                <a:off x="1719844" y="3515624"/>
                <a:ext cx="161925" cy="95250"/>
              </a:xfrm>
              <a:custGeom>
                <a:avLst/>
                <a:gdLst>
                  <a:gd name="connsiteX0" fmla="*/ 150230 w 161925"/>
                  <a:gd name="connsiteY0" fmla="*/ 94985 h 95250"/>
                  <a:gd name="connsiteX1" fmla="*/ 13070 w 161925"/>
                  <a:gd name="connsiteY1" fmla="*/ 94985 h 95250"/>
                  <a:gd name="connsiteX2" fmla="*/ 7355 w 161925"/>
                  <a:gd name="connsiteY2" fmla="*/ 89270 h 95250"/>
                  <a:gd name="connsiteX3" fmla="*/ 7355 w 161925"/>
                  <a:gd name="connsiteY3" fmla="*/ 13070 h 95250"/>
                  <a:gd name="connsiteX4" fmla="*/ 13070 w 161925"/>
                  <a:gd name="connsiteY4" fmla="*/ 7355 h 95250"/>
                  <a:gd name="connsiteX5" fmla="*/ 150230 w 161925"/>
                  <a:gd name="connsiteY5" fmla="*/ 7355 h 95250"/>
                  <a:gd name="connsiteX6" fmla="*/ 155945 w 161925"/>
                  <a:gd name="connsiteY6" fmla="*/ 13070 h 95250"/>
                  <a:gd name="connsiteX7" fmla="*/ 155945 w 161925"/>
                  <a:gd name="connsiteY7" fmla="*/ 89270 h 95250"/>
                  <a:gd name="connsiteX8" fmla="*/ 150230 w 161925"/>
                  <a:gd name="connsiteY8" fmla="*/ 94985 h 95250"/>
                  <a:gd name="connsiteX9" fmla="*/ 150230 w 161925"/>
                  <a:gd name="connsiteY9" fmla="*/ 9498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95250">
                    <a:moveTo>
                      <a:pt x="150230" y="94985"/>
                    </a:moveTo>
                    <a:cubicBezTo>
                      <a:pt x="13070" y="94985"/>
                      <a:pt x="13070" y="94985"/>
                      <a:pt x="13070" y="94985"/>
                    </a:cubicBezTo>
                    <a:cubicBezTo>
                      <a:pt x="10213" y="94985"/>
                      <a:pt x="7355" y="92128"/>
                      <a:pt x="7355" y="89270"/>
                    </a:cubicBezTo>
                    <a:cubicBezTo>
                      <a:pt x="7355" y="13070"/>
                      <a:pt x="7355" y="13070"/>
                      <a:pt x="7355" y="13070"/>
                    </a:cubicBezTo>
                    <a:cubicBezTo>
                      <a:pt x="7355" y="10213"/>
                      <a:pt x="10213" y="7355"/>
                      <a:pt x="13070" y="7355"/>
                    </a:cubicBezTo>
                    <a:cubicBezTo>
                      <a:pt x="150230" y="7355"/>
                      <a:pt x="150230" y="7355"/>
                      <a:pt x="150230" y="7355"/>
                    </a:cubicBezTo>
                    <a:cubicBezTo>
                      <a:pt x="153088" y="7355"/>
                      <a:pt x="155945" y="10213"/>
                      <a:pt x="155945" y="13070"/>
                    </a:cubicBezTo>
                    <a:cubicBezTo>
                      <a:pt x="155945" y="89270"/>
                      <a:pt x="155945" y="89270"/>
                      <a:pt x="155945" y="89270"/>
                    </a:cubicBezTo>
                    <a:cubicBezTo>
                      <a:pt x="155945" y="93080"/>
                      <a:pt x="154040" y="94985"/>
                      <a:pt x="150230" y="94985"/>
                    </a:cubicBezTo>
                    <a:lnTo>
                      <a:pt x="150230" y="94985"/>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85" name="Freeform: Shape 484">
                <a:extLst>
                  <a:ext uri="{FF2B5EF4-FFF2-40B4-BE49-F238E27FC236}">
                    <a16:creationId xmlns:a16="http://schemas.microsoft.com/office/drawing/2014/main" id="{87BE84E0-77A9-4A5E-8A52-2130B3858D05}"/>
                  </a:ext>
                </a:extLst>
              </p:cNvPr>
              <p:cNvSpPr/>
              <p:nvPr/>
            </p:nvSpPr>
            <p:spPr>
              <a:xfrm>
                <a:off x="1691269" y="3624209"/>
                <a:ext cx="219075" cy="9525"/>
              </a:xfrm>
              <a:custGeom>
                <a:avLst/>
                <a:gdLst>
                  <a:gd name="connsiteX0" fmla="*/ 7355 w 219075"/>
                  <a:gd name="connsiteY0" fmla="*/ 7355 h 9525"/>
                  <a:gd name="connsiteX1" fmla="*/ 214048 w 219075"/>
                  <a:gd name="connsiteY1" fmla="*/ 7355 h 9525"/>
                </a:gdLst>
                <a:ahLst/>
                <a:cxnLst>
                  <a:cxn ang="0">
                    <a:pos x="connsiteX0" y="connsiteY0"/>
                  </a:cxn>
                  <a:cxn ang="0">
                    <a:pos x="connsiteX1" y="connsiteY1"/>
                  </a:cxn>
                </a:cxnLst>
                <a:rect l="l" t="t" r="r" b="b"/>
                <a:pathLst>
                  <a:path w="219075" h="9525">
                    <a:moveTo>
                      <a:pt x="7355" y="7355"/>
                    </a:moveTo>
                    <a:lnTo>
                      <a:pt x="214048" y="7355"/>
                    </a:ln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86" name="Freeform: Shape 485">
                <a:extLst>
                  <a:ext uri="{FF2B5EF4-FFF2-40B4-BE49-F238E27FC236}">
                    <a16:creationId xmlns:a16="http://schemas.microsoft.com/office/drawing/2014/main" id="{3FACEFA0-8F27-4DAB-A447-7088A62407E9}"/>
                  </a:ext>
                </a:extLst>
              </p:cNvPr>
              <p:cNvSpPr/>
              <p:nvPr/>
            </p:nvSpPr>
            <p:spPr>
              <a:xfrm>
                <a:off x="1749371" y="3341316"/>
                <a:ext cx="104775" cy="104775"/>
              </a:xfrm>
              <a:custGeom>
                <a:avLst/>
                <a:gdLst>
                  <a:gd name="connsiteX0" fmla="*/ 7355 w 104775"/>
                  <a:gd name="connsiteY0" fmla="*/ 54980 h 104775"/>
                  <a:gd name="connsiteX1" fmla="*/ 53075 w 104775"/>
                  <a:gd name="connsiteY1" fmla="*/ 7355 h 104775"/>
                  <a:gd name="connsiteX2" fmla="*/ 98795 w 104775"/>
                  <a:gd name="connsiteY2" fmla="*/ 54980 h 104775"/>
                  <a:gd name="connsiteX3" fmla="*/ 53075 w 104775"/>
                  <a:gd name="connsiteY3" fmla="*/ 102605 h 104775"/>
                  <a:gd name="connsiteX4" fmla="*/ 7355 w 104775"/>
                  <a:gd name="connsiteY4" fmla="*/ 54980 h 104775"/>
                  <a:gd name="connsiteX5" fmla="*/ 7355 w 104775"/>
                  <a:gd name="connsiteY5" fmla="*/ 5498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7355" y="54980"/>
                    </a:moveTo>
                    <a:cubicBezTo>
                      <a:pt x="7355" y="28310"/>
                      <a:pt x="27358" y="7355"/>
                      <a:pt x="53075" y="7355"/>
                    </a:cubicBezTo>
                    <a:cubicBezTo>
                      <a:pt x="78793" y="7355"/>
                      <a:pt x="98795" y="29263"/>
                      <a:pt x="98795" y="54980"/>
                    </a:cubicBezTo>
                    <a:cubicBezTo>
                      <a:pt x="98795" y="81650"/>
                      <a:pt x="78793" y="102605"/>
                      <a:pt x="53075" y="102605"/>
                    </a:cubicBezTo>
                    <a:cubicBezTo>
                      <a:pt x="27358" y="102605"/>
                      <a:pt x="7355" y="80698"/>
                      <a:pt x="7355" y="54980"/>
                    </a:cubicBezTo>
                    <a:lnTo>
                      <a:pt x="7355" y="54980"/>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87" name="Freeform: Shape 486">
                <a:extLst>
                  <a:ext uri="{FF2B5EF4-FFF2-40B4-BE49-F238E27FC236}">
                    <a16:creationId xmlns:a16="http://schemas.microsoft.com/office/drawing/2014/main" id="{083DAAEF-66DC-49CD-93E4-FD62E68486E7}"/>
                  </a:ext>
                </a:extLst>
              </p:cNvPr>
              <p:cNvSpPr/>
              <p:nvPr/>
            </p:nvSpPr>
            <p:spPr>
              <a:xfrm>
                <a:off x="1672226" y="3323226"/>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88" name="Freeform: Shape 487">
                <a:extLst>
                  <a:ext uri="{FF2B5EF4-FFF2-40B4-BE49-F238E27FC236}">
                    <a16:creationId xmlns:a16="http://schemas.microsoft.com/office/drawing/2014/main" id="{6AED9C8B-4A2B-4F40-AC08-6C14A24D79DF}"/>
                  </a:ext>
                </a:extLst>
              </p:cNvPr>
              <p:cNvSpPr/>
              <p:nvPr/>
            </p:nvSpPr>
            <p:spPr>
              <a:xfrm>
                <a:off x="1672430" y="3323430"/>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89" name="Freeform: Shape 488">
                <a:extLst>
                  <a:ext uri="{FF2B5EF4-FFF2-40B4-BE49-F238E27FC236}">
                    <a16:creationId xmlns:a16="http://schemas.microsoft.com/office/drawing/2014/main" id="{9ECE411A-3D76-4EC9-9981-CA0E25457056}"/>
                  </a:ext>
                </a:extLst>
              </p:cNvPr>
              <p:cNvSpPr/>
              <p:nvPr/>
            </p:nvSpPr>
            <p:spPr>
              <a:xfrm>
                <a:off x="1672226" y="3323226"/>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grpSp>
        <p:grpSp>
          <p:nvGrpSpPr>
            <p:cNvPr id="201" name="Group 200">
              <a:extLst>
                <a:ext uri="{FF2B5EF4-FFF2-40B4-BE49-F238E27FC236}">
                  <a16:creationId xmlns:a16="http://schemas.microsoft.com/office/drawing/2014/main" id="{AC29012A-63ED-4970-9FC7-53A6AF6038B6}"/>
                </a:ext>
              </a:extLst>
            </p:cNvPr>
            <p:cNvGrpSpPr/>
            <p:nvPr/>
          </p:nvGrpSpPr>
          <p:grpSpPr>
            <a:xfrm>
              <a:off x="4918494" y="3424613"/>
              <a:ext cx="334889" cy="412304"/>
              <a:chOff x="1672226" y="3323226"/>
              <a:chExt cx="252206" cy="310508"/>
            </a:xfrm>
            <a:grpFill/>
          </p:grpSpPr>
          <p:sp>
            <p:nvSpPr>
              <p:cNvPr id="476" name="Freeform: Shape 475">
                <a:extLst>
                  <a:ext uri="{FF2B5EF4-FFF2-40B4-BE49-F238E27FC236}">
                    <a16:creationId xmlns:a16="http://schemas.microsoft.com/office/drawing/2014/main" id="{DEC0E190-279E-4C86-96D2-C0A042C66BD0}"/>
                  </a:ext>
                </a:extLst>
              </p:cNvPr>
              <p:cNvSpPr/>
              <p:nvPr/>
            </p:nvSpPr>
            <p:spPr>
              <a:xfrm>
                <a:off x="1676782" y="3460379"/>
                <a:ext cx="247650" cy="142875"/>
              </a:xfrm>
              <a:custGeom>
                <a:avLst/>
                <a:gdLst>
                  <a:gd name="connsiteX0" fmla="*/ 212342 w 247650"/>
                  <a:gd name="connsiteY0" fmla="*/ 137848 h 142875"/>
                  <a:gd name="connsiteX1" fmla="*/ 234250 w 247650"/>
                  <a:gd name="connsiteY1" fmla="*/ 114988 h 142875"/>
                  <a:gd name="connsiteX2" fmla="*/ 238060 w 247650"/>
                  <a:gd name="connsiteY2" fmla="*/ 80698 h 142875"/>
                  <a:gd name="connsiteX3" fmla="*/ 200912 w 247650"/>
                  <a:gd name="connsiteY3" fmla="*/ 19738 h 142875"/>
                  <a:gd name="connsiteX4" fmla="*/ 179005 w 247650"/>
                  <a:gd name="connsiteY4" fmla="*/ 7355 h 142875"/>
                  <a:gd name="connsiteX5" fmla="*/ 123760 w 247650"/>
                  <a:gd name="connsiteY5" fmla="*/ 7355 h 142875"/>
                  <a:gd name="connsiteX6" fmla="*/ 71372 w 247650"/>
                  <a:gd name="connsiteY6" fmla="*/ 7355 h 142875"/>
                  <a:gd name="connsiteX7" fmla="*/ 48512 w 247650"/>
                  <a:gd name="connsiteY7" fmla="*/ 19738 h 142875"/>
                  <a:gd name="connsiteX8" fmla="*/ 11365 w 247650"/>
                  <a:gd name="connsiteY8" fmla="*/ 80698 h 142875"/>
                  <a:gd name="connsiteX9" fmla="*/ 15175 w 247650"/>
                  <a:gd name="connsiteY9" fmla="*/ 114988 h 142875"/>
                  <a:gd name="connsiteX10" fmla="*/ 37082 w 247650"/>
                  <a:gd name="connsiteY10" fmla="*/ 13784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142875">
                    <a:moveTo>
                      <a:pt x="212342" y="137848"/>
                    </a:moveTo>
                    <a:cubicBezTo>
                      <a:pt x="234250" y="114988"/>
                      <a:pt x="234250" y="114988"/>
                      <a:pt x="234250" y="114988"/>
                    </a:cubicBezTo>
                    <a:cubicBezTo>
                      <a:pt x="242822" y="105463"/>
                      <a:pt x="244727" y="92128"/>
                      <a:pt x="238060" y="80698"/>
                    </a:cubicBezTo>
                    <a:cubicBezTo>
                      <a:pt x="200912" y="19738"/>
                      <a:pt x="200912" y="19738"/>
                      <a:pt x="200912" y="19738"/>
                    </a:cubicBezTo>
                    <a:cubicBezTo>
                      <a:pt x="196150" y="12118"/>
                      <a:pt x="187577" y="7355"/>
                      <a:pt x="179005" y="7355"/>
                    </a:cubicBezTo>
                    <a:cubicBezTo>
                      <a:pt x="123760" y="7355"/>
                      <a:pt x="123760" y="7355"/>
                      <a:pt x="123760" y="7355"/>
                    </a:cubicBezTo>
                    <a:cubicBezTo>
                      <a:pt x="71372" y="7355"/>
                      <a:pt x="71372" y="7355"/>
                      <a:pt x="71372" y="7355"/>
                    </a:cubicBezTo>
                    <a:cubicBezTo>
                      <a:pt x="61847" y="7355"/>
                      <a:pt x="54227" y="12118"/>
                      <a:pt x="48512" y="19738"/>
                    </a:cubicBezTo>
                    <a:cubicBezTo>
                      <a:pt x="11365" y="80698"/>
                      <a:pt x="11365" y="80698"/>
                      <a:pt x="11365" y="80698"/>
                    </a:cubicBezTo>
                    <a:cubicBezTo>
                      <a:pt x="4697" y="91175"/>
                      <a:pt x="6602" y="105463"/>
                      <a:pt x="15175" y="114988"/>
                    </a:cubicBezTo>
                    <a:cubicBezTo>
                      <a:pt x="37082" y="137848"/>
                      <a:pt x="37082" y="137848"/>
                      <a:pt x="37082" y="137848"/>
                    </a:cubicBez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77" name="Freeform: Shape 476">
                <a:extLst>
                  <a:ext uri="{FF2B5EF4-FFF2-40B4-BE49-F238E27FC236}">
                    <a16:creationId xmlns:a16="http://schemas.microsoft.com/office/drawing/2014/main" id="{439BF4AF-4380-4368-8526-335108FD591D}"/>
                  </a:ext>
                </a:extLst>
              </p:cNvPr>
              <p:cNvSpPr/>
              <p:nvPr/>
            </p:nvSpPr>
            <p:spPr>
              <a:xfrm>
                <a:off x="1719844" y="3515624"/>
                <a:ext cx="161925" cy="95250"/>
              </a:xfrm>
              <a:custGeom>
                <a:avLst/>
                <a:gdLst>
                  <a:gd name="connsiteX0" fmla="*/ 150230 w 161925"/>
                  <a:gd name="connsiteY0" fmla="*/ 94985 h 95250"/>
                  <a:gd name="connsiteX1" fmla="*/ 13070 w 161925"/>
                  <a:gd name="connsiteY1" fmla="*/ 94985 h 95250"/>
                  <a:gd name="connsiteX2" fmla="*/ 7355 w 161925"/>
                  <a:gd name="connsiteY2" fmla="*/ 89270 h 95250"/>
                  <a:gd name="connsiteX3" fmla="*/ 7355 w 161925"/>
                  <a:gd name="connsiteY3" fmla="*/ 13070 h 95250"/>
                  <a:gd name="connsiteX4" fmla="*/ 13070 w 161925"/>
                  <a:gd name="connsiteY4" fmla="*/ 7355 h 95250"/>
                  <a:gd name="connsiteX5" fmla="*/ 150230 w 161925"/>
                  <a:gd name="connsiteY5" fmla="*/ 7355 h 95250"/>
                  <a:gd name="connsiteX6" fmla="*/ 155945 w 161925"/>
                  <a:gd name="connsiteY6" fmla="*/ 13070 h 95250"/>
                  <a:gd name="connsiteX7" fmla="*/ 155945 w 161925"/>
                  <a:gd name="connsiteY7" fmla="*/ 89270 h 95250"/>
                  <a:gd name="connsiteX8" fmla="*/ 150230 w 161925"/>
                  <a:gd name="connsiteY8" fmla="*/ 94985 h 95250"/>
                  <a:gd name="connsiteX9" fmla="*/ 150230 w 161925"/>
                  <a:gd name="connsiteY9" fmla="*/ 9498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95250">
                    <a:moveTo>
                      <a:pt x="150230" y="94985"/>
                    </a:moveTo>
                    <a:cubicBezTo>
                      <a:pt x="13070" y="94985"/>
                      <a:pt x="13070" y="94985"/>
                      <a:pt x="13070" y="94985"/>
                    </a:cubicBezTo>
                    <a:cubicBezTo>
                      <a:pt x="10213" y="94985"/>
                      <a:pt x="7355" y="92128"/>
                      <a:pt x="7355" y="89270"/>
                    </a:cubicBezTo>
                    <a:cubicBezTo>
                      <a:pt x="7355" y="13070"/>
                      <a:pt x="7355" y="13070"/>
                      <a:pt x="7355" y="13070"/>
                    </a:cubicBezTo>
                    <a:cubicBezTo>
                      <a:pt x="7355" y="10213"/>
                      <a:pt x="10213" y="7355"/>
                      <a:pt x="13070" y="7355"/>
                    </a:cubicBezTo>
                    <a:cubicBezTo>
                      <a:pt x="150230" y="7355"/>
                      <a:pt x="150230" y="7355"/>
                      <a:pt x="150230" y="7355"/>
                    </a:cubicBezTo>
                    <a:cubicBezTo>
                      <a:pt x="153088" y="7355"/>
                      <a:pt x="155945" y="10213"/>
                      <a:pt x="155945" y="13070"/>
                    </a:cubicBezTo>
                    <a:cubicBezTo>
                      <a:pt x="155945" y="89270"/>
                      <a:pt x="155945" y="89270"/>
                      <a:pt x="155945" y="89270"/>
                    </a:cubicBezTo>
                    <a:cubicBezTo>
                      <a:pt x="155945" y="93080"/>
                      <a:pt x="154040" y="94985"/>
                      <a:pt x="150230" y="94985"/>
                    </a:cubicBezTo>
                    <a:lnTo>
                      <a:pt x="150230" y="94985"/>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78" name="Freeform: Shape 477">
                <a:extLst>
                  <a:ext uri="{FF2B5EF4-FFF2-40B4-BE49-F238E27FC236}">
                    <a16:creationId xmlns:a16="http://schemas.microsoft.com/office/drawing/2014/main" id="{10C8D94C-E36C-45E7-B5D2-E1A960772335}"/>
                  </a:ext>
                </a:extLst>
              </p:cNvPr>
              <p:cNvSpPr/>
              <p:nvPr/>
            </p:nvSpPr>
            <p:spPr>
              <a:xfrm>
                <a:off x="1691269" y="3624209"/>
                <a:ext cx="219075" cy="9525"/>
              </a:xfrm>
              <a:custGeom>
                <a:avLst/>
                <a:gdLst>
                  <a:gd name="connsiteX0" fmla="*/ 7355 w 219075"/>
                  <a:gd name="connsiteY0" fmla="*/ 7355 h 9525"/>
                  <a:gd name="connsiteX1" fmla="*/ 214048 w 219075"/>
                  <a:gd name="connsiteY1" fmla="*/ 7355 h 9525"/>
                </a:gdLst>
                <a:ahLst/>
                <a:cxnLst>
                  <a:cxn ang="0">
                    <a:pos x="connsiteX0" y="connsiteY0"/>
                  </a:cxn>
                  <a:cxn ang="0">
                    <a:pos x="connsiteX1" y="connsiteY1"/>
                  </a:cxn>
                </a:cxnLst>
                <a:rect l="l" t="t" r="r" b="b"/>
                <a:pathLst>
                  <a:path w="219075" h="9525">
                    <a:moveTo>
                      <a:pt x="7355" y="7355"/>
                    </a:moveTo>
                    <a:lnTo>
                      <a:pt x="214048" y="7355"/>
                    </a:ln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79" name="Freeform: Shape 478">
                <a:extLst>
                  <a:ext uri="{FF2B5EF4-FFF2-40B4-BE49-F238E27FC236}">
                    <a16:creationId xmlns:a16="http://schemas.microsoft.com/office/drawing/2014/main" id="{7A0FF6F8-B179-4D55-86C7-8D958C14FC10}"/>
                  </a:ext>
                </a:extLst>
              </p:cNvPr>
              <p:cNvSpPr/>
              <p:nvPr/>
            </p:nvSpPr>
            <p:spPr>
              <a:xfrm>
                <a:off x="1749371" y="3341316"/>
                <a:ext cx="104775" cy="104775"/>
              </a:xfrm>
              <a:custGeom>
                <a:avLst/>
                <a:gdLst>
                  <a:gd name="connsiteX0" fmla="*/ 7355 w 104775"/>
                  <a:gd name="connsiteY0" fmla="*/ 54980 h 104775"/>
                  <a:gd name="connsiteX1" fmla="*/ 53075 w 104775"/>
                  <a:gd name="connsiteY1" fmla="*/ 7355 h 104775"/>
                  <a:gd name="connsiteX2" fmla="*/ 98795 w 104775"/>
                  <a:gd name="connsiteY2" fmla="*/ 54980 h 104775"/>
                  <a:gd name="connsiteX3" fmla="*/ 53075 w 104775"/>
                  <a:gd name="connsiteY3" fmla="*/ 102605 h 104775"/>
                  <a:gd name="connsiteX4" fmla="*/ 7355 w 104775"/>
                  <a:gd name="connsiteY4" fmla="*/ 54980 h 104775"/>
                  <a:gd name="connsiteX5" fmla="*/ 7355 w 104775"/>
                  <a:gd name="connsiteY5" fmla="*/ 5498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7355" y="54980"/>
                    </a:moveTo>
                    <a:cubicBezTo>
                      <a:pt x="7355" y="28310"/>
                      <a:pt x="27358" y="7355"/>
                      <a:pt x="53075" y="7355"/>
                    </a:cubicBezTo>
                    <a:cubicBezTo>
                      <a:pt x="78793" y="7355"/>
                      <a:pt x="98795" y="29263"/>
                      <a:pt x="98795" y="54980"/>
                    </a:cubicBezTo>
                    <a:cubicBezTo>
                      <a:pt x="98795" y="81650"/>
                      <a:pt x="78793" y="102605"/>
                      <a:pt x="53075" y="102605"/>
                    </a:cubicBezTo>
                    <a:cubicBezTo>
                      <a:pt x="27358" y="102605"/>
                      <a:pt x="7355" y="80698"/>
                      <a:pt x="7355" y="54980"/>
                    </a:cubicBezTo>
                    <a:lnTo>
                      <a:pt x="7355" y="54980"/>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80" name="Freeform: Shape 479">
                <a:extLst>
                  <a:ext uri="{FF2B5EF4-FFF2-40B4-BE49-F238E27FC236}">
                    <a16:creationId xmlns:a16="http://schemas.microsoft.com/office/drawing/2014/main" id="{E21DDC93-69BC-419D-BB8A-374C60DFECF8}"/>
                  </a:ext>
                </a:extLst>
              </p:cNvPr>
              <p:cNvSpPr/>
              <p:nvPr/>
            </p:nvSpPr>
            <p:spPr>
              <a:xfrm>
                <a:off x="1672226" y="3323226"/>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81" name="Freeform: Shape 480">
                <a:extLst>
                  <a:ext uri="{FF2B5EF4-FFF2-40B4-BE49-F238E27FC236}">
                    <a16:creationId xmlns:a16="http://schemas.microsoft.com/office/drawing/2014/main" id="{6CEB875E-99DB-4448-817E-2D0C1003C9EB}"/>
                  </a:ext>
                </a:extLst>
              </p:cNvPr>
              <p:cNvSpPr/>
              <p:nvPr/>
            </p:nvSpPr>
            <p:spPr>
              <a:xfrm>
                <a:off x="1672430" y="3323430"/>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82" name="Freeform: Shape 481">
                <a:extLst>
                  <a:ext uri="{FF2B5EF4-FFF2-40B4-BE49-F238E27FC236}">
                    <a16:creationId xmlns:a16="http://schemas.microsoft.com/office/drawing/2014/main" id="{BE102AF5-691C-4B1D-8ED8-B446F111D1A2}"/>
                  </a:ext>
                </a:extLst>
              </p:cNvPr>
              <p:cNvSpPr/>
              <p:nvPr/>
            </p:nvSpPr>
            <p:spPr>
              <a:xfrm>
                <a:off x="1672226" y="3323226"/>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grpSp>
        <p:grpSp>
          <p:nvGrpSpPr>
            <p:cNvPr id="202" name="Group 201">
              <a:extLst>
                <a:ext uri="{FF2B5EF4-FFF2-40B4-BE49-F238E27FC236}">
                  <a16:creationId xmlns:a16="http://schemas.microsoft.com/office/drawing/2014/main" id="{3382C52A-6D30-4A7F-A7D9-C4B6412BA4F9}"/>
                </a:ext>
              </a:extLst>
            </p:cNvPr>
            <p:cNvGrpSpPr/>
            <p:nvPr/>
          </p:nvGrpSpPr>
          <p:grpSpPr>
            <a:xfrm>
              <a:off x="4175118" y="3424613"/>
              <a:ext cx="334889" cy="412304"/>
              <a:chOff x="1672226" y="3323226"/>
              <a:chExt cx="252206" cy="310508"/>
            </a:xfrm>
            <a:grpFill/>
          </p:grpSpPr>
          <p:sp>
            <p:nvSpPr>
              <p:cNvPr id="469" name="Freeform: Shape 468">
                <a:extLst>
                  <a:ext uri="{FF2B5EF4-FFF2-40B4-BE49-F238E27FC236}">
                    <a16:creationId xmlns:a16="http://schemas.microsoft.com/office/drawing/2014/main" id="{24B1429F-DA05-4917-A57C-F65E4466FF3D}"/>
                  </a:ext>
                </a:extLst>
              </p:cNvPr>
              <p:cNvSpPr/>
              <p:nvPr/>
            </p:nvSpPr>
            <p:spPr>
              <a:xfrm>
                <a:off x="1676782" y="3460379"/>
                <a:ext cx="247650" cy="142875"/>
              </a:xfrm>
              <a:custGeom>
                <a:avLst/>
                <a:gdLst>
                  <a:gd name="connsiteX0" fmla="*/ 212342 w 247650"/>
                  <a:gd name="connsiteY0" fmla="*/ 137848 h 142875"/>
                  <a:gd name="connsiteX1" fmla="*/ 234250 w 247650"/>
                  <a:gd name="connsiteY1" fmla="*/ 114988 h 142875"/>
                  <a:gd name="connsiteX2" fmla="*/ 238060 w 247650"/>
                  <a:gd name="connsiteY2" fmla="*/ 80698 h 142875"/>
                  <a:gd name="connsiteX3" fmla="*/ 200912 w 247650"/>
                  <a:gd name="connsiteY3" fmla="*/ 19738 h 142875"/>
                  <a:gd name="connsiteX4" fmla="*/ 179005 w 247650"/>
                  <a:gd name="connsiteY4" fmla="*/ 7355 h 142875"/>
                  <a:gd name="connsiteX5" fmla="*/ 123760 w 247650"/>
                  <a:gd name="connsiteY5" fmla="*/ 7355 h 142875"/>
                  <a:gd name="connsiteX6" fmla="*/ 71372 w 247650"/>
                  <a:gd name="connsiteY6" fmla="*/ 7355 h 142875"/>
                  <a:gd name="connsiteX7" fmla="*/ 48512 w 247650"/>
                  <a:gd name="connsiteY7" fmla="*/ 19738 h 142875"/>
                  <a:gd name="connsiteX8" fmla="*/ 11365 w 247650"/>
                  <a:gd name="connsiteY8" fmla="*/ 80698 h 142875"/>
                  <a:gd name="connsiteX9" fmla="*/ 15175 w 247650"/>
                  <a:gd name="connsiteY9" fmla="*/ 114988 h 142875"/>
                  <a:gd name="connsiteX10" fmla="*/ 37082 w 247650"/>
                  <a:gd name="connsiteY10" fmla="*/ 13784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142875">
                    <a:moveTo>
                      <a:pt x="212342" y="137848"/>
                    </a:moveTo>
                    <a:cubicBezTo>
                      <a:pt x="234250" y="114988"/>
                      <a:pt x="234250" y="114988"/>
                      <a:pt x="234250" y="114988"/>
                    </a:cubicBezTo>
                    <a:cubicBezTo>
                      <a:pt x="242822" y="105463"/>
                      <a:pt x="244727" y="92128"/>
                      <a:pt x="238060" y="80698"/>
                    </a:cubicBezTo>
                    <a:cubicBezTo>
                      <a:pt x="200912" y="19738"/>
                      <a:pt x="200912" y="19738"/>
                      <a:pt x="200912" y="19738"/>
                    </a:cubicBezTo>
                    <a:cubicBezTo>
                      <a:pt x="196150" y="12118"/>
                      <a:pt x="187577" y="7355"/>
                      <a:pt x="179005" y="7355"/>
                    </a:cubicBezTo>
                    <a:cubicBezTo>
                      <a:pt x="123760" y="7355"/>
                      <a:pt x="123760" y="7355"/>
                      <a:pt x="123760" y="7355"/>
                    </a:cubicBezTo>
                    <a:cubicBezTo>
                      <a:pt x="71372" y="7355"/>
                      <a:pt x="71372" y="7355"/>
                      <a:pt x="71372" y="7355"/>
                    </a:cubicBezTo>
                    <a:cubicBezTo>
                      <a:pt x="61847" y="7355"/>
                      <a:pt x="54227" y="12118"/>
                      <a:pt x="48512" y="19738"/>
                    </a:cubicBezTo>
                    <a:cubicBezTo>
                      <a:pt x="11365" y="80698"/>
                      <a:pt x="11365" y="80698"/>
                      <a:pt x="11365" y="80698"/>
                    </a:cubicBezTo>
                    <a:cubicBezTo>
                      <a:pt x="4697" y="91175"/>
                      <a:pt x="6602" y="105463"/>
                      <a:pt x="15175" y="114988"/>
                    </a:cubicBezTo>
                    <a:cubicBezTo>
                      <a:pt x="37082" y="137848"/>
                      <a:pt x="37082" y="137848"/>
                      <a:pt x="37082" y="137848"/>
                    </a:cubicBez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70" name="Freeform: Shape 469">
                <a:extLst>
                  <a:ext uri="{FF2B5EF4-FFF2-40B4-BE49-F238E27FC236}">
                    <a16:creationId xmlns:a16="http://schemas.microsoft.com/office/drawing/2014/main" id="{EF945DFD-F7D4-4E95-B29C-D609483336B3}"/>
                  </a:ext>
                </a:extLst>
              </p:cNvPr>
              <p:cNvSpPr/>
              <p:nvPr/>
            </p:nvSpPr>
            <p:spPr>
              <a:xfrm>
                <a:off x="1719844" y="3515624"/>
                <a:ext cx="161925" cy="95250"/>
              </a:xfrm>
              <a:custGeom>
                <a:avLst/>
                <a:gdLst>
                  <a:gd name="connsiteX0" fmla="*/ 150230 w 161925"/>
                  <a:gd name="connsiteY0" fmla="*/ 94985 h 95250"/>
                  <a:gd name="connsiteX1" fmla="*/ 13070 w 161925"/>
                  <a:gd name="connsiteY1" fmla="*/ 94985 h 95250"/>
                  <a:gd name="connsiteX2" fmla="*/ 7355 w 161925"/>
                  <a:gd name="connsiteY2" fmla="*/ 89270 h 95250"/>
                  <a:gd name="connsiteX3" fmla="*/ 7355 w 161925"/>
                  <a:gd name="connsiteY3" fmla="*/ 13070 h 95250"/>
                  <a:gd name="connsiteX4" fmla="*/ 13070 w 161925"/>
                  <a:gd name="connsiteY4" fmla="*/ 7355 h 95250"/>
                  <a:gd name="connsiteX5" fmla="*/ 150230 w 161925"/>
                  <a:gd name="connsiteY5" fmla="*/ 7355 h 95250"/>
                  <a:gd name="connsiteX6" fmla="*/ 155945 w 161925"/>
                  <a:gd name="connsiteY6" fmla="*/ 13070 h 95250"/>
                  <a:gd name="connsiteX7" fmla="*/ 155945 w 161925"/>
                  <a:gd name="connsiteY7" fmla="*/ 89270 h 95250"/>
                  <a:gd name="connsiteX8" fmla="*/ 150230 w 161925"/>
                  <a:gd name="connsiteY8" fmla="*/ 94985 h 95250"/>
                  <a:gd name="connsiteX9" fmla="*/ 150230 w 161925"/>
                  <a:gd name="connsiteY9" fmla="*/ 9498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95250">
                    <a:moveTo>
                      <a:pt x="150230" y="94985"/>
                    </a:moveTo>
                    <a:cubicBezTo>
                      <a:pt x="13070" y="94985"/>
                      <a:pt x="13070" y="94985"/>
                      <a:pt x="13070" y="94985"/>
                    </a:cubicBezTo>
                    <a:cubicBezTo>
                      <a:pt x="10213" y="94985"/>
                      <a:pt x="7355" y="92128"/>
                      <a:pt x="7355" y="89270"/>
                    </a:cubicBezTo>
                    <a:cubicBezTo>
                      <a:pt x="7355" y="13070"/>
                      <a:pt x="7355" y="13070"/>
                      <a:pt x="7355" y="13070"/>
                    </a:cubicBezTo>
                    <a:cubicBezTo>
                      <a:pt x="7355" y="10213"/>
                      <a:pt x="10213" y="7355"/>
                      <a:pt x="13070" y="7355"/>
                    </a:cubicBezTo>
                    <a:cubicBezTo>
                      <a:pt x="150230" y="7355"/>
                      <a:pt x="150230" y="7355"/>
                      <a:pt x="150230" y="7355"/>
                    </a:cubicBezTo>
                    <a:cubicBezTo>
                      <a:pt x="153088" y="7355"/>
                      <a:pt x="155945" y="10213"/>
                      <a:pt x="155945" y="13070"/>
                    </a:cubicBezTo>
                    <a:cubicBezTo>
                      <a:pt x="155945" y="89270"/>
                      <a:pt x="155945" y="89270"/>
                      <a:pt x="155945" y="89270"/>
                    </a:cubicBezTo>
                    <a:cubicBezTo>
                      <a:pt x="155945" y="93080"/>
                      <a:pt x="154040" y="94985"/>
                      <a:pt x="150230" y="94985"/>
                    </a:cubicBezTo>
                    <a:lnTo>
                      <a:pt x="150230" y="94985"/>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71" name="Freeform: Shape 470">
                <a:extLst>
                  <a:ext uri="{FF2B5EF4-FFF2-40B4-BE49-F238E27FC236}">
                    <a16:creationId xmlns:a16="http://schemas.microsoft.com/office/drawing/2014/main" id="{0E446A53-8B58-4A85-8BF9-07FA735F4ED1}"/>
                  </a:ext>
                </a:extLst>
              </p:cNvPr>
              <p:cNvSpPr/>
              <p:nvPr/>
            </p:nvSpPr>
            <p:spPr>
              <a:xfrm>
                <a:off x="1691269" y="3624209"/>
                <a:ext cx="219075" cy="9525"/>
              </a:xfrm>
              <a:custGeom>
                <a:avLst/>
                <a:gdLst>
                  <a:gd name="connsiteX0" fmla="*/ 7355 w 219075"/>
                  <a:gd name="connsiteY0" fmla="*/ 7355 h 9525"/>
                  <a:gd name="connsiteX1" fmla="*/ 214048 w 219075"/>
                  <a:gd name="connsiteY1" fmla="*/ 7355 h 9525"/>
                </a:gdLst>
                <a:ahLst/>
                <a:cxnLst>
                  <a:cxn ang="0">
                    <a:pos x="connsiteX0" y="connsiteY0"/>
                  </a:cxn>
                  <a:cxn ang="0">
                    <a:pos x="connsiteX1" y="connsiteY1"/>
                  </a:cxn>
                </a:cxnLst>
                <a:rect l="l" t="t" r="r" b="b"/>
                <a:pathLst>
                  <a:path w="219075" h="9525">
                    <a:moveTo>
                      <a:pt x="7355" y="7355"/>
                    </a:moveTo>
                    <a:lnTo>
                      <a:pt x="214048" y="7355"/>
                    </a:ln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72" name="Freeform: Shape 471">
                <a:extLst>
                  <a:ext uri="{FF2B5EF4-FFF2-40B4-BE49-F238E27FC236}">
                    <a16:creationId xmlns:a16="http://schemas.microsoft.com/office/drawing/2014/main" id="{71016D6A-4BC7-492C-986C-C13DD6D33DD0}"/>
                  </a:ext>
                </a:extLst>
              </p:cNvPr>
              <p:cNvSpPr/>
              <p:nvPr/>
            </p:nvSpPr>
            <p:spPr>
              <a:xfrm>
                <a:off x="1749371" y="3341316"/>
                <a:ext cx="104775" cy="104775"/>
              </a:xfrm>
              <a:custGeom>
                <a:avLst/>
                <a:gdLst>
                  <a:gd name="connsiteX0" fmla="*/ 7355 w 104775"/>
                  <a:gd name="connsiteY0" fmla="*/ 54980 h 104775"/>
                  <a:gd name="connsiteX1" fmla="*/ 53075 w 104775"/>
                  <a:gd name="connsiteY1" fmla="*/ 7355 h 104775"/>
                  <a:gd name="connsiteX2" fmla="*/ 98795 w 104775"/>
                  <a:gd name="connsiteY2" fmla="*/ 54980 h 104775"/>
                  <a:gd name="connsiteX3" fmla="*/ 53075 w 104775"/>
                  <a:gd name="connsiteY3" fmla="*/ 102605 h 104775"/>
                  <a:gd name="connsiteX4" fmla="*/ 7355 w 104775"/>
                  <a:gd name="connsiteY4" fmla="*/ 54980 h 104775"/>
                  <a:gd name="connsiteX5" fmla="*/ 7355 w 104775"/>
                  <a:gd name="connsiteY5" fmla="*/ 5498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7355" y="54980"/>
                    </a:moveTo>
                    <a:cubicBezTo>
                      <a:pt x="7355" y="28310"/>
                      <a:pt x="27358" y="7355"/>
                      <a:pt x="53075" y="7355"/>
                    </a:cubicBezTo>
                    <a:cubicBezTo>
                      <a:pt x="78793" y="7355"/>
                      <a:pt x="98795" y="29263"/>
                      <a:pt x="98795" y="54980"/>
                    </a:cubicBezTo>
                    <a:cubicBezTo>
                      <a:pt x="98795" y="81650"/>
                      <a:pt x="78793" y="102605"/>
                      <a:pt x="53075" y="102605"/>
                    </a:cubicBezTo>
                    <a:cubicBezTo>
                      <a:pt x="27358" y="102605"/>
                      <a:pt x="7355" y="80698"/>
                      <a:pt x="7355" y="54980"/>
                    </a:cubicBezTo>
                    <a:lnTo>
                      <a:pt x="7355" y="54980"/>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73" name="Freeform: Shape 472">
                <a:extLst>
                  <a:ext uri="{FF2B5EF4-FFF2-40B4-BE49-F238E27FC236}">
                    <a16:creationId xmlns:a16="http://schemas.microsoft.com/office/drawing/2014/main" id="{AA018114-FC99-4528-8BD4-7EF755CBD0EF}"/>
                  </a:ext>
                </a:extLst>
              </p:cNvPr>
              <p:cNvSpPr/>
              <p:nvPr/>
            </p:nvSpPr>
            <p:spPr>
              <a:xfrm>
                <a:off x="1672226" y="3323226"/>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74" name="Freeform: Shape 473">
                <a:extLst>
                  <a:ext uri="{FF2B5EF4-FFF2-40B4-BE49-F238E27FC236}">
                    <a16:creationId xmlns:a16="http://schemas.microsoft.com/office/drawing/2014/main" id="{4CDF10D5-633D-464A-9A91-976C2FA7208F}"/>
                  </a:ext>
                </a:extLst>
              </p:cNvPr>
              <p:cNvSpPr/>
              <p:nvPr/>
            </p:nvSpPr>
            <p:spPr>
              <a:xfrm>
                <a:off x="1672430" y="3323430"/>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75" name="Freeform: Shape 474">
                <a:extLst>
                  <a:ext uri="{FF2B5EF4-FFF2-40B4-BE49-F238E27FC236}">
                    <a16:creationId xmlns:a16="http://schemas.microsoft.com/office/drawing/2014/main" id="{733D58BC-91FF-4F11-8C73-ADBE1C19660A}"/>
                  </a:ext>
                </a:extLst>
              </p:cNvPr>
              <p:cNvSpPr/>
              <p:nvPr/>
            </p:nvSpPr>
            <p:spPr>
              <a:xfrm>
                <a:off x="1672226" y="3323226"/>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grpSp>
        <p:grpSp>
          <p:nvGrpSpPr>
            <p:cNvPr id="203" name="Group 202">
              <a:extLst>
                <a:ext uri="{FF2B5EF4-FFF2-40B4-BE49-F238E27FC236}">
                  <a16:creationId xmlns:a16="http://schemas.microsoft.com/office/drawing/2014/main" id="{54C1AADB-7093-464D-A562-7F1C1028A131}"/>
                </a:ext>
              </a:extLst>
            </p:cNvPr>
            <p:cNvGrpSpPr/>
            <p:nvPr/>
          </p:nvGrpSpPr>
          <p:grpSpPr>
            <a:xfrm>
              <a:off x="6405248" y="3424613"/>
              <a:ext cx="334889" cy="412304"/>
              <a:chOff x="1672226" y="3323226"/>
              <a:chExt cx="252206" cy="310508"/>
            </a:xfrm>
            <a:grpFill/>
          </p:grpSpPr>
          <p:sp>
            <p:nvSpPr>
              <p:cNvPr id="462" name="Freeform: Shape 461">
                <a:extLst>
                  <a:ext uri="{FF2B5EF4-FFF2-40B4-BE49-F238E27FC236}">
                    <a16:creationId xmlns:a16="http://schemas.microsoft.com/office/drawing/2014/main" id="{EB7F6D97-B98D-4930-829D-437B40EBD2F8}"/>
                  </a:ext>
                </a:extLst>
              </p:cNvPr>
              <p:cNvSpPr/>
              <p:nvPr/>
            </p:nvSpPr>
            <p:spPr>
              <a:xfrm>
                <a:off x="1676782" y="3460379"/>
                <a:ext cx="247650" cy="142875"/>
              </a:xfrm>
              <a:custGeom>
                <a:avLst/>
                <a:gdLst>
                  <a:gd name="connsiteX0" fmla="*/ 212342 w 247650"/>
                  <a:gd name="connsiteY0" fmla="*/ 137848 h 142875"/>
                  <a:gd name="connsiteX1" fmla="*/ 234250 w 247650"/>
                  <a:gd name="connsiteY1" fmla="*/ 114988 h 142875"/>
                  <a:gd name="connsiteX2" fmla="*/ 238060 w 247650"/>
                  <a:gd name="connsiteY2" fmla="*/ 80698 h 142875"/>
                  <a:gd name="connsiteX3" fmla="*/ 200912 w 247650"/>
                  <a:gd name="connsiteY3" fmla="*/ 19738 h 142875"/>
                  <a:gd name="connsiteX4" fmla="*/ 179005 w 247650"/>
                  <a:gd name="connsiteY4" fmla="*/ 7355 h 142875"/>
                  <a:gd name="connsiteX5" fmla="*/ 123760 w 247650"/>
                  <a:gd name="connsiteY5" fmla="*/ 7355 h 142875"/>
                  <a:gd name="connsiteX6" fmla="*/ 71372 w 247650"/>
                  <a:gd name="connsiteY6" fmla="*/ 7355 h 142875"/>
                  <a:gd name="connsiteX7" fmla="*/ 48512 w 247650"/>
                  <a:gd name="connsiteY7" fmla="*/ 19738 h 142875"/>
                  <a:gd name="connsiteX8" fmla="*/ 11365 w 247650"/>
                  <a:gd name="connsiteY8" fmla="*/ 80698 h 142875"/>
                  <a:gd name="connsiteX9" fmla="*/ 15175 w 247650"/>
                  <a:gd name="connsiteY9" fmla="*/ 114988 h 142875"/>
                  <a:gd name="connsiteX10" fmla="*/ 37082 w 247650"/>
                  <a:gd name="connsiteY10" fmla="*/ 13784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142875">
                    <a:moveTo>
                      <a:pt x="212342" y="137848"/>
                    </a:moveTo>
                    <a:cubicBezTo>
                      <a:pt x="234250" y="114988"/>
                      <a:pt x="234250" y="114988"/>
                      <a:pt x="234250" y="114988"/>
                    </a:cubicBezTo>
                    <a:cubicBezTo>
                      <a:pt x="242822" y="105463"/>
                      <a:pt x="244727" y="92128"/>
                      <a:pt x="238060" y="80698"/>
                    </a:cubicBezTo>
                    <a:cubicBezTo>
                      <a:pt x="200912" y="19738"/>
                      <a:pt x="200912" y="19738"/>
                      <a:pt x="200912" y="19738"/>
                    </a:cubicBezTo>
                    <a:cubicBezTo>
                      <a:pt x="196150" y="12118"/>
                      <a:pt x="187577" y="7355"/>
                      <a:pt x="179005" y="7355"/>
                    </a:cubicBezTo>
                    <a:cubicBezTo>
                      <a:pt x="123760" y="7355"/>
                      <a:pt x="123760" y="7355"/>
                      <a:pt x="123760" y="7355"/>
                    </a:cubicBezTo>
                    <a:cubicBezTo>
                      <a:pt x="71372" y="7355"/>
                      <a:pt x="71372" y="7355"/>
                      <a:pt x="71372" y="7355"/>
                    </a:cubicBezTo>
                    <a:cubicBezTo>
                      <a:pt x="61847" y="7355"/>
                      <a:pt x="54227" y="12118"/>
                      <a:pt x="48512" y="19738"/>
                    </a:cubicBezTo>
                    <a:cubicBezTo>
                      <a:pt x="11365" y="80698"/>
                      <a:pt x="11365" y="80698"/>
                      <a:pt x="11365" y="80698"/>
                    </a:cubicBezTo>
                    <a:cubicBezTo>
                      <a:pt x="4697" y="91175"/>
                      <a:pt x="6602" y="105463"/>
                      <a:pt x="15175" y="114988"/>
                    </a:cubicBezTo>
                    <a:cubicBezTo>
                      <a:pt x="37082" y="137848"/>
                      <a:pt x="37082" y="137848"/>
                      <a:pt x="37082" y="137848"/>
                    </a:cubicBez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63" name="Freeform: Shape 462">
                <a:extLst>
                  <a:ext uri="{FF2B5EF4-FFF2-40B4-BE49-F238E27FC236}">
                    <a16:creationId xmlns:a16="http://schemas.microsoft.com/office/drawing/2014/main" id="{1C3071A6-62A6-4A20-9255-42BFF96E2680}"/>
                  </a:ext>
                </a:extLst>
              </p:cNvPr>
              <p:cNvSpPr/>
              <p:nvPr/>
            </p:nvSpPr>
            <p:spPr>
              <a:xfrm>
                <a:off x="1719844" y="3515624"/>
                <a:ext cx="161925" cy="95250"/>
              </a:xfrm>
              <a:custGeom>
                <a:avLst/>
                <a:gdLst>
                  <a:gd name="connsiteX0" fmla="*/ 150230 w 161925"/>
                  <a:gd name="connsiteY0" fmla="*/ 94985 h 95250"/>
                  <a:gd name="connsiteX1" fmla="*/ 13070 w 161925"/>
                  <a:gd name="connsiteY1" fmla="*/ 94985 h 95250"/>
                  <a:gd name="connsiteX2" fmla="*/ 7355 w 161925"/>
                  <a:gd name="connsiteY2" fmla="*/ 89270 h 95250"/>
                  <a:gd name="connsiteX3" fmla="*/ 7355 w 161925"/>
                  <a:gd name="connsiteY3" fmla="*/ 13070 h 95250"/>
                  <a:gd name="connsiteX4" fmla="*/ 13070 w 161925"/>
                  <a:gd name="connsiteY4" fmla="*/ 7355 h 95250"/>
                  <a:gd name="connsiteX5" fmla="*/ 150230 w 161925"/>
                  <a:gd name="connsiteY5" fmla="*/ 7355 h 95250"/>
                  <a:gd name="connsiteX6" fmla="*/ 155945 w 161925"/>
                  <a:gd name="connsiteY6" fmla="*/ 13070 h 95250"/>
                  <a:gd name="connsiteX7" fmla="*/ 155945 w 161925"/>
                  <a:gd name="connsiteY7" fmla="*/ 89270 h 95250"/>
                  <a:gd name="connsiteX8" fmla="*/ 150230 w 161925"/>
                  <a:gd name="connsiteY8" fmla="*/ 94985 h 95250"/>
                  <a:gd name="connsiteX9" fmla="*/ 150230 w 161925"/>
                  <a:gd name="connsiteY9" fmla="*/ 9498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95250">
                    <a:moveTo>
                      <a:pt x="150230" y="94985"/>
                    </a:moveTo>
                    <a:cubicBezTo>
                      <a:pt x="13070" y="94985"/>
                      <a:pt x="13070" y="94985"/>
                      <a:pt x="13070" y="94985"/>
                    </a:cubicBezTo>
                    <a:cubicBezTo>
                      <a:pt x="10213" y="94985"/>
                      <a:pt x="7355" y="92128"/>
                      <a:pt x="7355" y="89270"/>
                    </a:cubicBezTo>
                    <a:cubicBezTo>
                      <a:pt x="7355" y="13070"/>
                      <a:pt x="7355" y="13070"/>
                      <a:pt x="7355" y="13070"/>
                    </a:cubicBezTo>
                    <a:cubicBezTo>
                      <a:pt x="7355" y="10213"/>
                      <a:pt x="10213" y="7355"/>
                      <a:pt x="13070" y="7355"/>
                    </a:cubicBezTo>
                    <a:cubicBezTo>
                      <a:pt x="150230" y="7355"/>
                      <a:pt x="150230" y="7355"/>
                      <a:pt x="150230" y="7355"/>
                    </a:cubicBezTo>
                    <a:cubicBezTo>
                      <a:pt x="153088" y="7355"/>
                      <a:pt x="155945" y="10213"/>
                      <a:pt x="155945" y="13070"/>
                    </a:cubicBezTo>
                    <a:cubicBezTo>
                      <a:pt x="155945" y="89270"/>
                      <a:pt x="155945" y="89270"/>
                      <a:pt x="155945" y="89270"/>
                    </a:cubicBezTo>
                    <a:cubicBezTo>
                      <a:pt x="155945" y="93080"/>
                      <a:pt x="154040" y="94985"/>
                      <a:pt x="150230" y="94985"/>
                    </a:cubicBezTo>
                    <a:lnTo>
                      <a:pt x="150230" y="94985"/>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64" name="Freeform: Shape 463">
                <a:extLst>
                  <a:ext uri="{FF2B5EF4-FFF2-40B4-BE49-F238E27FC236}">
                    <a16:creationId xmlns:a16="http://schemas.microsoft.com/office/drawing/2014/main" id="{1CC4DB74-0313-411C-B17A-D9A398BC8E35}"/>
                  </a:ext>
                </a:extLst>
              </p:cNvPr>
              <p:cNvSpPr/>
              <p:nvPr/>
            </p:nvSpPr>
            <p:spPr>
              <a:xfrm>
                <a:off x="1691269" y="3624209"/>
                <a:ext cx="219075" cy="9525"/>
              </a:xfrm>
              <a:custGeom>
                <a:avLst/>
                <a:gdLst>
                  <a:gd name="connsiteX0" fmla="*/ 7355 w 219075"/>
                  <a:gd name="connsiteY0" fmla="*/ 7355 h 9525"/>
                  <a:gd name="connsiteX1" fmla="*/ 214048 w 219075"/>
                  <a:gd name="connsiteY1" fmla="*/ 7355 h 9525"/>
                </a:gdLst>
                <a:ahLst/>
                <a:cxnLst>
                  <a:cxn ang="0">
                    <a:pos x="connsiteX0" y="connsiteY0"/>
                  </a:cxn>
                  <a:cxn ang="0">
                    <a:pos x="connsiteX1" y="connsiteY1"/>
                  </a:cxn>
                </a:cxnLst>
                <a:rect l="l" t="t" r="r" b="b"/>
                <a:pathLst>
                  <a:path w="219075" h="9525">
                    <a:moveTo>
                      <a:pt x="7355" y="7355"/>
                    </a:moveTo>
                    <a:lnTo>
                      <a:pt x="214048" y="7355"/>
                    </a:ln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65" name="Freeform: Shape 464">
                <a:extLst>
                  <a:ext uri="{FF2B5EF4-FFF2-40B4-BE49-F238E27FC236}">
                    <a16:creationId xmlns:a16="http://schemas.microsoft.com/office/drawing/2014/main" id="{375BBE67-7F81-442C-B1A8-62B2F9369F2F}"/>
                  </a:ext>
                </a:extLst>
              </p:cNvPr>
              <p:cNvSpPr/>
              <p:nvPr/>
            </p:nvSpPr>
            <p:spPr>
              <a:xfrm>
                <a:off x="1749371" y="3341316"/>
                <a:ext cx="104775" cy="104775"/>
              </a:xfrm>
              <a:custGeom>
                <a:avLst/>
                <a:gdLst>
                  <a:gd name="connsiteX0" fmla="*/ 7355 w 104775"/>
                  <a:gd name="connsiteY0" fmla="*/ 54980 h 104775"/>
                  <a:gd name="connsiteX1" fmla="*/ 53075 w 104775"/>
                  <a:gd name="connsiteY1" fmla="*/ 7355 h 104775"/>
                  <a:gd name="connsiteX2" fmla="*/ 98795 w 104775"/>
                  <a:gd name="connsiteY2" fmla="*/ 54980 h 104775"/>
                  <a:gd name="connsiteX3" fmla="*/ 53075 w 104775"/>
                  <a:gd name="connsiteY3" fmla="*/ 102605 h 104775"/>
                  <a:gd name="connsiteX4" fmla="*/ 7355 w 104775"/>
                  <a:gd name="connsiteY4" fmla="*/ 54980 h 104775"/>
                  <a:gd name="connsiteX5" fmla="*/ 7355 w 104775"/>
                  <a:gd name="connsiteY5" fmla="*/ 5498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7355" y="54980"/>
                    </a:moveTo>
                    <a:cubicBezTo>
                      <a:pt x="7355" y="28310"/>
                      <a:pt x="27358" y="7355"/>
                      <a:pt x="53075" y="7355"/>
                    </a:cubicBezTo>
                    <a:cubicBezTo>
                      <a:pt x="78793" y="7355"/>
                      <a:pt x="98795" y="29263"/>
                      <a:pt x="98795" y="54980"/>
                    </a:cubicBezTo>
                    <a:cubicBezTo>
                      <a:pt x="98795" y="81650"/>
                      <a:pt x="78793" y="102605"/>
                      <a:pt x="53075" y="102605"/>
                    </a:cubicBezTo>
                    <a:cubicBezTo>
                      <a:pt x="27358" y="102605"/>
                      <a:pt x="7355" y="80698"/>
                      <a:pt x="7355" y="54980"/>
                    </a:cubicBezTo>
                    <a:lnTo>
                      <a:pt x="7355" y="54980"/>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66" name="Freeform: Shape 465">
                <a:extLst>
                  <a:ext uri="{FF2B5EF4-FFF2-40B4-BE49-F238E27FC236}">
                    <a16:creationId xmlns:a16="http://schemas.microsoft.com/office/drawing/2014/main" id="{3FEDB777-5206-4443-A30C-74355B021DE8}"/>
                  </a:ext>
                </a:extLst>
              </p:cNvPr>
              <p:cNvSpPr/>
              <p:nvPr/>
            </p:nvSpPr>
            <p:spPr>
              <a:xfrm>
                <a:off x="1672226" y="3323226"/>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67" name="Freeform: Shape 466">
                <a:extLst>
                  <a:ext uri="{FF2B5EF4-FFF2-40B4-BE49-F238E27FC236}">
                    <a16:creationId xmlns:a16="http://schemas.microsoft.com/office/drawing/2014/main" id="{B864668E-8823-4E38-9651-8A66B07D0C1F}"/>
                  </a:ext>
                </a:extLst>
              </p:cNvPr>
              <p:cNvSpPr/>
              <p:nvPr/>
            </p:nvSpPr>
            <p:spPr>
              <a:xfrm>
                <a:off x="1672430" y="3323430"/>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68" name="Freeform: Shape 467">
                <a:extLst>
                  <a:ext uri="{FF2B5EF4-FFF2-40B4-BE49-F238E27FC236}">
                    <a16:creationId xmlns:a16="http://schemas.microsoft.com/office/drawing/2014/main" id="{E2394DA0-1BF6-4BF9-B54F-A3720B0D52B1}"/>
                  </a:ext>
                </a:extLst>
              </p:cNvPr>
              <p:cNvSpPr/>
              <p:nvPr/>
            </p:nvSpPr>
            <p:spPr>
              <a:xfrm>
                <a:off x="1672226" y="3323226"/>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grpSp>
        <p:grpSp>
          <p:nvGrpSpPr>
            <p:cNvPr id="204" name="Group 203">
              <a:extLst>
                <a:ext uri="{FF2B5EF4-FFF2-40B4-BE49-F238E27FC236}">
                  <a16:creationId xmlns:a16="http://schemas.microsoft.com/office/drawing/2014/main" id="{AFF8DC6C-866D-4F4D-B3B0-BBCDD958A39E}"/>
                </a:ext>
              </a:extLst>
            </p:cNvPr>
            <p:cNvGrpSpPr/>
            <p:nvPr/>
          </p:nvGrpSpPr>
          <p:grpSpPr>
            <a:xfrm>
              <a:off x="7148624" y="3424613"/>
              <a:ext cx="334889" cy="412304"/>
              <a:chOff x="1672226" y="3323226"/>
              <a:chExt cx="252206" cy="310508"/>
            </a:xfrm>
            <a:grpFill/>
          </p:grpSpPr>
          <p:sp>
            <p:nvSpPr>
              <p:cNvPr id="455" name="Freeform: Shape 454">
                <a:extLst>
                  <a:ext uri="{FF2B5EF4-FFF2-40B4-BE49-F238E27FC236}">
                    <a16:creationId xmlns:a16="http://schemas.microsoft.com/office/drawing/2014/main" id="{1F4ADE52-DEE7-49CB-A950-DB76B635ED6B}"/>
                  </a:ext>
                </a:extLst>
              </p:cNvPr>
              <p:cNvSpPr/>
              <p:nvPr/>
            </p:nvSpPr>
            <p:spPr>
              <a:xfrm>
                <a:off x="1676782" y="3460379"/>
                <a:ext cx="247650" cy="142875"/>
              </a:xfrm>
              <a:custGeom>
                <a:avLst/>
                <a:gdLst>
                  <a:gd name="connsiteX0" fmla="*/ 212342 w 247650"/>
                  <a:gd name="connsiteY0" fmla="*/ 137848 h 142875"/>
                  <a:gd name="connsiteX1" fmla="*/ 234250 w 247650"/>
                  <a:gd name="connsiteY1" fmla="*/ 114988 h 142875"/>
                  <a:gd name="connsiteX2" fmla="*/ 238060 w 247650"/>
                  <a:gd name="connsiteY2" fmla="*/ 80698 h 142875"/>
                  <a:gd name="connsiteX3" fmla="*/ 200912 w 247650"/>
                  <a:gd name="connsiteY3" fmla="*/ 19738 h 142875"/>
                  <a:gd name="connsiteX4" fmla="*/ 179005 w 247650"/>
                  <a:gd name="connsiteY4" fmla="*/ 7355 h 142875"/>
                  <a:gd name="connsiteX5" fmla="*/ 123760 w 247650"/>
                  <a:gd name="connsiteY5" fmla="*/ 7355 h 142875"/>
                  <a:gd name="connsiteX6" fmla="*/ 71372 w 247650"/>
                  <a:gd name="connsiteY6" fmla="*/ 7355 h 142875"/>
                  <a:gd name="connsiteX7" fmla="*/ 48512 w 247650"/>
                  <a:gd name="connsiteY7" fmla="*/ 19738 h 142875"/>
                  <a:gd name="connsiteX8" fmla="*/ 11365 w 247650"/>
                  <a:gd name="connsiteY8" fmla="*/ 80698 h 142875"/>
                  <a:gd name="connsiteX9" fmla="*/ 15175 w 247650"/>
                  <a:gd name="connsiteY9" fmla="*/ 114988 h 142875"/>
                  <a:gd name="connsiteX10" fmla="*/ 37082 w 247650"/>
                  <a:gd name="connsiteY10" fmla="*/ 13784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142875">
                    <a:moveTo>
                      <a:pt x="212342" y="137848"/>
                    </a:moveTo>
                    <a:cubicBezTo>
                      <a:pt x="234250" y="114988"/>
                      <a:pt x="234250" y="114988"/>
                      <a:pt x="234250" y="114988"/>
                    </a:cubicBezTo>
                    <a:cubicBezTo>
                      <a:pt x="242822" y="105463"/>
                      <a:pt x="244727" y="92128"/>
                      <a:pt x="238060" y="80698"/>
                    </a:cubicBezTo>
                    <a:cubicBezTo>
                      <a:pt x="200912" y="19738"/>
                      <a:pt x="200912" y="19738"/>
                      <a:pt x="200912" y="19738"/>
                    </a:cubicBezTo>
                    <a:cubicBezTo>
                      <a:pt x="196150" y="12118"/>
                      <a:pt x="187577" y="7355"/>
                      <a:pt x="179005" y="7355"/>
                    </a:cubicBezTo>
                    <a:cubicBezTo>
                      <a:pt x="123760" y="7355"/>
                      <a:pt x="123760" y="7355"/>
                      <a:pt x="123760" y="7355"/>
                    </a:cubicBezTo>
                    <a:cubicBezTo>
                      <a:pt x="71372" y="7355"/>
                      <a:pt x="71372" y="7355"/>
                      <a:pt x="71372" y="7355"/>
                    </a:cubicBezTo>
                    <a:cubicBezTo>
                      <a:pt x="61847" y="7355"/>
                      <a:pt x="54227" y="12118"/>
                      <a:pt x="48512" y="19738"/>
                    </a:cubicBezTo>
                    <a:cubicBezTo>
                      <a:pt x="11365" y="80698"/>
                      <a:pt x="11365" y="80698"/>
                      <a:pt x="11365" y="80698"/>
                    </a:cubicBezTo>
                    <a:cubicBezTo>
                      <a:pt x="4697" y="91175"/>
                      <a:pt x="6602" y="105463"/>
                      <a:pt x="15175" y="114988"/>
                    </a:cubicBezTo>
                    <a:cubicBezTo>
                      <a:pt x="37082" y="137848"/>
                      <a:pt x="37082" y="137848"/>
                      <a:pt x="37082" y="137848"/>
                    </a:cubicBez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56" name="Freeform: Shape 455">
                <a:extLst>
                  <a:ext uri="{FF2B5EF4-FFF2-40B4-BE49-F238E27FC236}">
                    <a16:creationId xmlns:a16="http://schemas.microsoft.com/office/drawing/2014/main" id="{F6D10213-CF7B-485D-8FB3-D7B4789472AF}"/>
                  </a:ext>
                </a:extLst>
              </p:cNvPr>
              <p:cNvSpPr/>
              <p:nvPr/>
            </p:nvSpPr>
            <p:spPr>
              <a:xfrm>
                <a:off x="1719844" y="3515624"/>
                <a:ext cx="161925" cy="95250"/>
              </a:xfrm>
              <a:custGeom>
                <a:avLst/>
                <a:gdLst>
                  <a:gd name="connsiteX0" fmla="*/ 150230 w 161925"/>
                  <a:gd name="connsiteY0" fmla="*/ 94985 h 95250"/>
                  <a:gd name="connsiteX1" fmla="*/ 13070 w 161925"/>
                  <a:gd name="connsiteY1" fmla="*/ 94985 h 95250"/>
                  <a:gd name="connsiteX2" fmla="*/ 7355 w 161925"/>
                  <a:gd name="connsiteY2" fmla="*/ 89270 h 95250"/>
                  <a:gd name="connsiteX3" fmla="*/ 7355 w 161925"/>
                  <a:gd name="connsiteY3" fmla="*/ 13070 h 95250"/>
                  <a:gd name="connsiteX4" fmla="*/ 13070 w 161925"/>
                  <a:gd name="connsiteY4" fmla="*/ 7355 h 95250"/>
                  <a:gd name="connsiteX5" fmla="*/ 150230 w 161925"/>
                  <a:gd name="connsiteY5" fmla="*/ 7355 h 95250"/>
                  <a:gd name="connsiteX6" fmla="*/ 155945 w 161925"/>
                  <a:gd name="connsiteY6" fmla="*/ 13070 h 95250"/>
                  <a:gd name="connsiteX7" fmla="*/ 155945 w 161925"/>
                  <a:gd name="connsiteY7" fmla="*/ 89270 h 95250"/>
                  <a:gd name="connsiteX8" fmla="*/ 150230 w 161925"/>
                  <a:gd name="connsiteY8" fmla="*/ 94985 h 95250"/>
                  <a:gd name="connsiteX9" fmla="*/ 150230 w 161925"/>
                  <a:gd name="connsiteY9" fmla="*/ 9498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95250">
                    <a:moveTo>
                      <a:pt x="150230" y="94985"/>
                    </a:moveTo>
                    <a:cubicBezTo>
                      <a:pt x="13070" y="94985"/>
                      <a:pt x="13070" y="94985"/>
                      <a:pt x="13070" y="94985"/>
                    </a:cubicBezTo>
                    <a:cubicBezTo>
                      <a:pt x="10213" y="94985"/>
                      <a:pt x="7355" y="92128"/>
                      <a:pt x="7355" y="89270"/>
                    </a:cubicBezTo>
                    <a:cubicBezTo>
                      <a:pt x="7355" y="13070"/>
                      <a:pt x="7355" y="13070"/>
                      <a:pt x="7355" y="13070"/>
                    </a:cubicBezTo>
                    <a:cubicBezTo>
                      <a:pt x="7355" y="10213"/>
                      <a:pt x="10213" y="7355"/>
                      <a:pt x="13070" y="7355"/>
                    </a:cubicBezTo>
                    <a:cubicBezTo>
                      <a:pt x="150230" y="7355"/>
                      <a:pt x="150230" y="7355"/>
                      <a:pt x="150230" y="7355"/>
                    </a:cubicBezTo>
                    <a:cubicBezTo>
                      <a:pt x="153088" y="7355"/>
                      <a:pt x="155945" y="10213"/>
                      <a:pt x="155945" y="13070"/>
                    </a:cubicBezTo>
                    <a:cubicBezTo>
                      <a:pt x="155945" y="89270"/>
                      <a:pt x="155945" y="89270"/>
                      <a:pt x="155945" y="89270"/>
                    </a:cubicBezTo>
                    <a:cubicBezTo>
                      <a:pt x="155945" y="93080"/>
                      <a:pt x="154040" y="94985"/>
                      <a:pt x="150230" y="94985"/>
                    </a:cubicBezTo>
                    <a:lnTo>
                      <a:pt x="150230" y="94985"/>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57" name="Freeform: Shape 456">
                <a:extLst>
                  <a:ext uri="{FF2B5EF4-FFF2-40B4-BE49-F238E27FC236}">
                    <a16:creationId xmlns:a16="http://schemas.microsoft.com/office/drawing/2014/main" id="{1B6277DA-1BCF-42E3-9AF6-0C153EC362B6}"/>
                  </a:ext>
                </a:extLst>
              </p:cNvPr>
              <p:cNvSpPr/>
              <p:nvPr/>
            </p:nvSpPr>
            <p:spPr>
              <a:xfrm>
                <a:off x="1691269" y="3624209"/>
                <a:ext cx="219075" cy="9525"/>
              </a:xfrm>
              <a:custGeom>
                <a:avLst/>
                <a:gdLst>
                  <a:gd name="connsiteX0" fmla="*/ 7355 w 219075"/>
                  <a:gd name="connsiteY0" fmla="*/ 7355 h 9525"/>
                  <a:gd name="connsiteX1" fmla="*/ 214048 w 219075"/>
                  <a:gd name="connsiteY1" fmla="*/ 7355 h 9525"/>
                </a:gdLst>
                <a:ahLst/>
                <a:cxnLst>
                  <a:cxn ang="0">
                    <a:pos x="connsiteX0" y="connsiteY0"/>
                  </a:cxn>
                  <a:cxn ang="0">
                    <a:pos x="connsiteX1" y="connsiteY1"/>
                  </a:cxn>
                </a:cxnLst>
                <a:rect l="l" t="t" r="r" b="b"/>
                <a:pathLst>
                  <a:path w="219075" h="9525">
                    <a:moveTo>
                      <a:pt x="7355" y="7355"/>
                    </a:moveTo>
                    <a:lnTo>
                      <a:pt x="214048" y="7355"/>
                    </a:ln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58" name="Freeform: Shape 457">
                <a:extLst>
                  <a:ext uri="{FF2B5EF4-FFF2-40B4-BE49-F238E27FC236}">
                    <a16:creationId xmlns:a16="http://schemas.microsoft.com/office/drawing/2014/main" id="{2467B776-C640-403E-B460-7ED1DA5267D4}"/>
                  </a:ext>
                </a:extLst>
              </p:cNvPr>
              <p:cNvSpPr/>
              <p:nvPr/>
            </p:nvSpPr>
            <p:spPr>
              <a:xfrm>
                <a:off x="1749371" y="3341316"/>
                <a:ext cx="104775" cy="104775"/>
              </a:xfrm>
              <a:custGeom>
                <a:avLst/>
                <a:gdLst>
                  <a:gd name="connsiteX0" fmla="*/ 7355 w 104775"/>
                  <a:gd name="connsiteY0" fmla="*/ 54980 h 104775"/>
                  <a:gd name="connsiteX1" fmla="*/ 53075 w 104775"/>
                  <a:gd name="connsiteY1" fmla="*/ 7355 h 104775"/>
                  <a:gd name="connsiteX2" fmla="*/ 98795 w 104775"/>
                  <a:gd name="connsiteY2" fmla="*/ 54980 h 104775"/>
                  <a:gd name="connsiteX3" fmla="*/ 53075 w 104775"/>
                  <a:gd name="connsiteY3" fmla="*/ 102605 h 104775"/>
                  <a:gd name="connsiteX4" fmla="*/ 7355 w 104775"/>
                  <a:gd name="connsiteY4" fmla="*/ 54980 h 104775"/>
                  <a:gd name="connsiteX5" fmla="*/ 7355 w 104775"/>
                  <a:gd name="connsiteY5" fmla="*/ 5498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7355" y="54980"/>
                    </a:moveTo>
                    <a:cubicBezTo>
                      <a:pt x="7355" y="28310"/>
                      <a:pt x="27358" y="7355"/>
                      <a:pt x="53075" y="7355"/>
                    </a:cubicBezTo>
                    <a:cubicBezTo>
                      <a:pt x="78793" y="7355"/>
                      <a:pt x="98795" y="29263"/>
                      <a:pt x="98795" y="54980"/>
                    </a:cubicBezTo>
                    <a:cubicBezTo>
                      <a:pt x="98795" y="81650"/>
                      <a:pt x="78793" y="102605"/>
                      <a:pt x="53075" y="102605"/>
                    </a:cubicBezTo>
                    <a:cubicBezTo>
                      <a:pt x="27358" y="102605"/>
                      <a:pt x="7355" y="80698"/>
                      <a:pt x="7355" y="54980"/>
                    </a:cubicBezTo>
                    <a:lnTo>
                      <a:pt x="7355" y="54980"/>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59" name="Freeform: Shape 458">
                <a:extLst>
                  <a:ext uri="{FF2B5EF4-FFF2-40B4-BE49-F238E27FC236}">
                    <a16:creationId xmlns:a16="http://schemas.microsoft.com/office/drawing/2014/main" id="{816B507D-090A-4A8C-9FCB-799CB6598CF8}"/>
                  </a:ext>
                </a:extLst>
              </p:cNvPr>
              <p:cNvSpPr/>
              <p:nvPr/>
            </p:nvSpPr>
            <p:spPr>
              <a:xfrm>
                <a:off x="1672226" y="3323226"/>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60" name="Freeform: Shape 459">
                <a:extLst>
                  <a:ext uri="{FF2B5EF4-FFF2-40B4-BE49-F238E27FC236}">
                    <a16:creationId xmlns:a16="http://schemas.microsoft.com/office/drawing/2014/main" id="{EFB61BB7-B5FA-45CC-BE0C-0408F45D885D}"/>
                  </a:ext>
                </a:extLst>
              </p:cNvPr>
              <p:cNvSpPr/>
              <p:nvPr/>
            </p:nvSpPr>
            <p:spPr>
              <a:xfrm>
                <a:off x="1672430" y="3323430"/>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61" name="Freeform: Shape 460">
                <a:extLst>
                  <a:ext uri="{FF2B5EF4-FFF2-40B4-BE49-F238E27FC236}">
                    <a16:creationId xmlns:a16="http://schemas.microsoft.com/office/drawing/2014/main" id="{215734F4-0B73-4EC3-963C-FF9292A151F6}"/>
                  </a:ext>
                </a:extLst>
              </p:cNvPr>
              <p:cNvSpPr/>
              <p:nvPr/>
            </p:nvSpPr>
            <p:spPr>
              <a:xfrm>
                <a:off x="1672226" y="3323226"/>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grpSp>
        <p:grpSp>
          <p:nvGrpSpPr>
            <p:cNvPr id="205" name="Group 204">
              <a:extLst>
                <a:ext uri="{FF2B5EF4-FFF2-40B4-BE49-F238E27FC236}">
                  <a16:creationId xmlns:a16="http://schemas.microsoft.com/office/drawing/2014/main" id="{031941CA-729B-4C1E-9831-88090690449F}"/>
                </a:ext>
              </a:extLst>
            </p:cNvPr>
            <p:cNvGrpSpPr/>
            <p:nvPr/>
          </p:nvGrpSpPr>
          <p:grpSpPr>
            <a:xfrm>
              <a:off x="4918437" y="4156913"/>
              <a:ext cx="334947" cy="412448"/>
              <a:chOff x="1672225" y="3323226"/>
              <a:chExt cx="252256" cy="310626"/>
            </a:xfrm>
            <a:grpFill/>
          </p:grpSpPr>
          <p:sp>
            <p:nvSpPr>
              <p:cNvPr id="448" name="Freeform: Shape 447">
                <a:extLst>
                  <a:ext uri="{FF2B5EF4-FFF2-40B4-BE49-F238E27FC236}">
                    <a16:creationId xmlns:a16="http://schemas.microsoft.com/office/drawing/2014/main" id="{D4E745CC-6F21-47A0-A201-E742AD13CAA4}"/>
                  </a:ext>
                </a:extLst>
              </p:cNvPr>
              <p:cNvSpPr/>
              <p:nvPr/>
            </p:nvSpPr>
            <p:spPr>
              <a:xfrm>
                <a:off x="1676825" y="3460493"/>
                <a:ext cx="247656" cy="142880"/>
              </a:xfrm>
              <a:custGeom>
                <a:avLst/>
                <a:gdLst>
                  <a:gd name="connsiteX0" fmla="*/ 212342 w 247650"/>
                  <a:gd name="connsiteY0" fmla="*/ 137848 h 142875"/>
                  <a:gd name="connsiteX1" fmla="*/ 234250 w 247650"/>
                  <a:gd name="connsiteY1" fmla="*/ 114988 h 142875"/>
                  <a:gd name="connsiteX2" fmla="*/ 238060 w 247650"/>
                  <a:gd name="connsiteY2" fmla="*/ 80698 h 142875"/>
                  <a:gd name="connsiteX3" fmla="*/ 200912 w 247650"/>
                  <a:gd name="connsiteY3" fmla="*/ 19738 h 142875"/>
                  <a:gd name="connsiteX4" fmla="*/ 179005 w 247650"/>
                  <a:gd name="connsiteY4" fmla="*/ 7355 h 142875"/>
                  <a:gd name="connsiteX5" fmla="*/ 123760 w 247650"/>
                  <a:gd name="connsiteY5" fmla="*/ 7355 h 142875"/>
                  <a:gd name="connsiteX6" fmla="*/ 71372 w 247650"/>
                  <a:gd name="connsiteY6" fmla="*/ 7355 h 142875"/>
                  <a:gd name="connsiteX7" fmla="*/ 48512 w 247650"/>
                  <a:gd name="connsiteY7" fmla="*/ 19738 h 142875"/>
                  <a:gd name="connsiteX8" fmla="*/ 11365 w 247650"/>
                  <a:gd name="connsiteY8" fmla="*/ 80698 h 142875"/>
                  <a:gd name="connsiteX9" fmla="*/ 15175 w 247650"/>
                  <a:gd name="connsiteY9" fmla="*/ 114988 h 142875"/>
                  <a:gd name="connsiteX10" fmla="*/ 37082 w 247650"/>
                  <a:gd name="connsiteY10" fmla="*/ 13784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142875">
                    <a:moveTo>
                      <a:pt x="212342" y="137848"/>
                    </a:moveTo>
                    <a:cubicBezTo>
                      <a:pt x="234250" y="114988"/>
                      <a:pt x="234250" y="114988"/>
                      <a:pt x="234250" y="114988"/>
                    </a:cubicBezTo>
                    <a:cubicBezTo>
                      <a:pt x="242822" y="105463"/>
                      <a:pt x="244727" y="92128"/>
                      <a:pt x="238060" y="80698"/>
                    </a:cubicBezTo>
                    <a:cubicBezTo>
                      <a:pt x="200912" y="19738"/>
                      <a:pt x="200912" y="19738"/>
                      <a:pt x="200912" y="19738"/>
                    </a:cubicBezTo>
                    <a:cubicBezTo>
                      <a:pt x="196150" y="12118"/>
                      <a:pt x="187577" y="7355"/>
                      <a:pt x="179005" y="7355"/>
                    </a:cubicBezTo>
                    <a:cubicBezTo>
                      <a:pt x="123760" y="7355"/>
                      <a:pt x="123760" y="7355"/>
                      <a:pt x="123760" y="7355"/>
                    </a:cubicBezTo>
                    <a:cubicBezTo>
                      <a:pt x="71372" y="7355"/>
                      <a:pt x="71372" y="7355"/>
                      <a:pt x="71372" y="7355"/>
                    </a:cubicBezTo>
                    <a:cubicBezTo>
                      <a:pt x="61847" y="7355"/>
                      <a:pt x="54227" y="12118"/>
                      <a:pt x="48512" y="19738"/>
                    </a:cubicBezTo>
                    <a:cubicBezTo>
                      <a:pt x="11365" y="80698"/>
                      <a:pt x="11365" y="80698"/>
                      <a:pt x="11365" y="80698"/>
                    </a:cubicBezTo>
                    <a:cubicBezTo>
                      <a:pt x="4697" y="91175"/>
                      <a:pt x="6602" y="105463"/>
                      <a:pt x="15175" y="114988"/>
                    </a:cubicBezTo>
                    <a:cubicBezTo>
                      <a:pt x="37082" y="137848"/>
                      <a:pt x="37082" y="137848"/>
                      <a:pt x="37082" y="137848"/>
                    </a:cubicBez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49" name="Freeform: Shape 448">
                <a:extLst>
                  <a:ext uri="{FF2B5EF4-FFF2-40B4-BE49-F238E27FC236}">
                    <a16:creationId xmlns:a16="http://schemas.microsoft.com/office/drawing/2014/main" id="{4D4F29C9-646E-48BC-A8C1-1CA9B4893EB4}"/>
                  </a:ext>
                </a:extLst>
              </p:cNvPr>
              <p:cNvSpPr/>
              <p:nvPr/>
            </p:nvSpPr>
            <p:spPr>
              <a:xfrm>
                <a:off x="1719889" y="3515739"/>
                <a:ext cx="161929" cy="95253"/>
              </a:xfrm>
              <a:custGeom>
                <a:avLst/>
                <a:gdLst>
                  <a:gd name="connsiteX0" fmla="*/ 150230 w 161925"/>
                  <a:gd name="connsiteY0" fmla="*/ 94985 h 95250"/>
                  <a:gd name="connsiteX1" fmla="*/ 13070 w 161925"/>
                  <a:gd name="connsiteY1" fmla="*/ 94985 h 95250"/>
                  <a:gd name="connsiteX2" fmla="*/ 7355 w 161925"/>
                  <a:gd name="connsiteY2" fmla="*/ 89270 h 95250"/>
                  <a:gd name="connsiteX3" fmla="*/ 7355 w 161925"/>
                  <a:gd name="connsiteY3" fmla="*/ 13070 h 95250"/>
                  <a:gd name="connsiteX4" fmla="*/ 13070 w 161925"/>
                  <a:gd name="connsiteY4" fmla="*/ 7355 h 95250"/>
                  <a:gd name="connsiteX5" fmla="*/ 150230 w 161925"/>
                  <a:gd name="connsiteY5" fmla="*/ 7355 h 95250"/>
                  <a:gd name="connsiteX6" fmla="*/ 155945 w 161925"/>
                  <a:gd name="connsiteY6" fmla="*/ 13070 h 95250"/>
                  <a:gd name="connsiteX7" fmla="*/ 155945 w 161925"/>
                  <a:gd name="connsiteY7" fmla="*/ 89270 h 95250"/>
                  <a:gd name="connsiteX8" fmla="*/ 150230 w 161925"/>
                  <a:gd name="connsiteY8" fmla="*/ 94985 h 95250"/>
                  <a:gd name="connsiteX9" fmla="*/ 150230 w 161925"/>
                  <a:gd name="connsiteY9" fmla="*/ 9498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95250">
                    <a:moveTo>
                      <a:pt x="150230" y="94985"/>
                    </a:moveTo>
                    <a:cubicBezTo>
                      <a:pt x="13070" y="94985"/>
                      <a:pt x="13070" y="94985"/>
                      <a:pt x="13070" y="94985"/>
                    </a:cubicBezTo>
                    <a:cubicBezTo>
                      <a:pt x="10213" y="94985"/>
                      <a:pt x="7355" y="92128"/>
                      <a:pt x="7355" y="89270"/>
                    </a:cubicBezTo>
                    <a:cubicBezTo>
                      <a:pt x="7355" y="13070"/>
                      <a:pt x="7355" y="13070"/>
                      <a:pt x="7355" y="13070"/>
                    </a:cubicBezTo>
                    <a:cubicBezTo>
                      <a:pt x="7355" y="10213"/>
                      <a:pt x="10213" y="7355"/>
                      <a:pt x="13070" y="7355"/>
                    </a:cubicBezTo>
                    <a:cubicBezTo>
                      <a:pt x="150230" y="7355"/>
                      <a:pt x="150230" y="7355"/>
                      <a:pt x="150230" y="7355"/>
                    </a:cubicBezTo>
                    <a:cubicBezTo>
                      <a:pt x="153088" y="7355"/>
                      <a:pt x="155945" y="10213"/>
                      <a:pt x="155945" y="13070"/>
                    </a:cubicBezTo>
                    <a:cubicBezTo>
                      <a:pt x="155945" y="89270"/>
                      <a:pt x="155945" y="89270"/>
                      <a:pt x="155945" y="89270"/>
                    </a:cubicBezTo>
                    <a:cubicBezTo>
                      <a:pt x="155945" y="93080"/>
                      <a:pt x="154040" y="94985"/>
                      <a:pt x="150230" y="94985"/>
                    </a:cubicBezTo>
                    <a:lnTo>
                      <a:pt x="150230" y="94985"/>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50" name="Freeform: Shape 449">
                <a:extLst>
                  <a:ext uri="{FF2B5EF4-FFF2-40B4-BE49-F238E27FC236}">
                    <a16:creationId xmlns:a16="http://schemas.microsoft.com/office/drawing/2014/main" id="{6C295DA5-6885-4C55-9D96-42BA30CAFE45}"/>
                  </a:ext>
                </a:extLst>
              </p:cNvPr>
              <p:cNvSpPr/>
              <p:nvPr/>
            </p:nvSpPr>
            <p:spPr>
              <a:xfrm>
                <a:off x="1691313" y="3624327"/>
                <a:ext cx="219081" cy="9525"/>
              </a:xfrm>
              <a:custGeom>
                <a:avLst/>
                <a:gdLst>
                  <a:gd name="connsiteX0" fmla="*/ 7355 w 219075"/>
                  <a:gd name="connsiteY0" fmla="*/ 7355 h 9525"/>
                  <a:gd name="connsiteX1" fmla="*/ 214048 w 219075"/>
                  <a:gd name="connsiteY1" fmla="*/ 7355 h 9525"/>
                </a:gdLst>
                <a:ahLst/>
                <a:cxnLst>
                  <a:cxn ang="0">
                    <a:pos x="connsiteX0" y="connsiteY0"/>
                  </a:cxn>
                  <a:cxn ang="0">
                    <a:pos x="connsiteX1" y="connsiteY1"/>
                  </a:cxn>
                </a:cxnLst>
                <a:rect l="l" t="t" r="r" b="b"/>
                <a:pathLst>
                  <a:path w="219075" h="9525">
                    <a:moveTo>
                      <a:pt x="7355" y="7355"/>
                    </a:moveTo>
                    <a:lnTo>
                      <a:pt x="214048" y="7355"/>
                    </a:ln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51" name="Freeform: Shape 450">
                <a:extLst>
                  <a:ext uri="{FF2B5EF4-FFF2-40B4-BE49-F238E27FC236}">
                    <a16:creationId xmlns:a16="http://schemas.microsoft.com/office/drawing/2014/main" id="{336B3874-6575-481F-9676-44535F1DC38D}"/>
                  </a:ext>
                </a:extLst>
              </p:cNvPr>
              <p:cNvSpPr/>
              <p:nvPr/>
            </p:nvSpPr>
            <p:spPr>
              <a:xfrm>
                <a:off x="1749416" y="3341415"/>
                <a:ext cx="104778" cy="104778"/>
              </a:xfrm>
              <a:custGeom>
                <a:avLst/>
                <a:gdLst>
                  <a:gd name="connsiteX0" fmla="*/ 7355 w 104775"/>
                  <a:gd name="connsiteY0" fmla="*/ 54980 h 104775"/>
                  <a:gd name="connsiteX1" fmla="*/ 53075 w 104775"/>
                  <a:gd name="connsiteY1" fmla="*/ 7355 h 104775"/>
                  <a:gd name="connsiteX2" fmla="*/ 98795 w 104775"/>
                  <a:gd name="connsiteY2" fmla="*/ 54980 h 104775"/>
                  <a:gd name="connsiteX3" fmla="*/ 53075 w 104775"/>
                  <a:gd name="connsiteY3" fmla="*/ 102605 h 104775"/>
                  <a:gd name="connsiteX4" fmla="*/ 7355 w 104775"/>
                  <a:gd name="connsiteY4" fmla="*/ 54980 h 104775"/>
                  <a:gd name="connsiteX5" fmla="*/ 7355 w 104775"/>
                  <a:gd name="connsiteY5" fmla="*/ 5498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7355" y="54980"/>
                    </a:moveTo>
                    <a:cubicBezTo>
                      <a:pt x="7355" y="28310"/>
                      <a:pt x="27358" y="7355"/>
                      <a:pt x="53075" y="7355"/>
                    </a:cubicBezTo>
                    <a:cubicBezTo>
                      <a:pt x="78793" y="7355"/>
                      <a:pt x="98795" y="29263"/>
                      <a:pt x="98795" y="54980"/>
                    </a:cubicBezTo>
                    <a:cubicBezTo>
                      <a:pt x="98795" y="81650"/>
                      <a:pt x="78793" y="102605"/>
                      <a:pt x="53075" y="102605"/>
                    </a:cubicBezTo>
                    <a:cubicBezTo>
                      <a:pt x="27358" y="102605"/>
                      <a:pt x="7355" y="80698"/>
                      <a:pt x="7355" y="54980"/>
                    </a:cubicBezTo>
                    <a:lnTo>
                      <a:pt x="7355" y="54980"/>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52" name="Freeform: Shape 451">
                <a:extLst>
                  <a:ext uri="{FF2B5EF4-FFF2-40B4-BE49-F238E27FC236}">
                    <a16:creationId xmlns:a16="http://schemas.microsoft.com/office/drawing/2014/main" id="{0AAD979C-6965-4EBA-99B8-CA66167CC851}"/>
                  </a:ext>
                </a:extLst>
              </p:cNvPr>
              <p:cNvSpPr/>
              <p:nvPr/>
            </p:nvSpPr>
            <p:spPr>
              <a:xfrm>
                <a:off x="1672225" y="3323325"/>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53" name="Freeform: Shape 452">
                <a:extLst>
                  <a:ext uri="{FF2B5EF4-FFF2-40B4-BE49-F238E27FC236}">
                    <a16:creationId xmlns:a16="http://schemas.microsoft.com/office/drawing/2014/main" id="{65B30794-0413-498B-9452-354421BB6A73}"/>
                  </a:ext>
                </a:extLst>
              </p:cNvPr>
              <p:cNvSpPr/>
              <p:nvPr/>
            </p:nvSpPr>
            <p:spPr>
              <a:xfrm>
                <a:off x="1672465" y="3323500"/>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54" name="Freeform: Shape 453">
                <a:extLst>
                  <a:ext uri="{FF2B5EF4-FFF2-40B4-BE49-F238E27FC236}">
                    <a16:creationId xmlns:a16="http://schemas.microsoft.com/office/drawing/2014/main" id="{5DA9EC07-2DB6-494C-9101-02B168804CEA}"/>
                  </a:ext>
                </a:extLst>
              </p:cNvPr>
              <p:cNvSpPr/>
              <p:nvPr/>
            </p:nvSpPr>
            <p:spPr>
              <a:xfrm>
                <a:off x="1672226" y="3323226"/>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grpSp>
        <p:grpSp>
          <p:nvGrpSpPr>
            <p:cNvPr id="208" name="Group 207">
              <a:extLst>
                <a:ext uri="{FF2B5EF4-FFF2-40B4-BE49-F238E27FC236}">
                  <a16:creationId xmlns:a16="http://schemas.microsoft.com/office/drawing/2014/main" id="{A588BF8F-92D7-4F84-9173-50DC4B441619}"/>
                </a:ext>
              </a:extLst>
            </p:cNvPr>
            <p:cNvGrpSpPr/>
            <p:nvPr/>
          </p:nvGrpSpPr>
          <p:grpSpPr>
            <a:xfrm>
              <a:off x="4175060" y="4156913"/>
              <a:ext cx="334947" cy="412448"/>
              <a:chOff x="1672225" y="3323226"/>
              <a:chExt cx="252256" cy="310626"/>
            </a:xfrm>
            <a:grpFill/>
          </p:grpSpPr>
          <p:sp>
            <p:nvSpPr>
              <p:cNvPr id="441" name="Freeform: Shape 440">
                <a:extLst>
                  <a:ext uri="{FF2B5EF4-FFF2-40B4-BE49-F238E27FC236}">
                    <a16:creationId xmlns:a16="http://schemas.microsoft.com/office/drawing/2014/main" id="{81557637-19A9-4F08-960E-30AA619BEACA}"/>
                  </a:ext>
                </a:extLst>
              </p:cNvPr>
              <p:cNvSpPr/>
              <p:nvPr/>
            </p:nvSpPr>
            <p:spPr>
              <a:xfrm>
                <a:off x="1676825" y="3460493"/>
                <a:ext cx="247656" cy="142880"/>
              </a:xfrm>
              <a:custGeom>
                <a:avLst/>
                <a:gdLst>
                  <a:gd name="connsiteX0" fmla="*/ 212342 w 247650"/>
                  <a:gd name="connsiteY0" fmla="*/ 137848 h 142875"/>
                  <a:gd name="connsiteX1" fmla="*/ 234250 w 247650"/>
                  <a:gd name="connsiteY1" fmla="*/ 114988 h 142875"/>
                  <a:gd name="connsiteX2" fmla="*/ 238060 w 247650"/>
                  <a:gd name="connsiteY2" fmla="*/ 80698 h 142875"/>
                  <a:gd name="connsiteX3" fmla="*/ 200912 w 247650"/>
                  <a:gd name="connsiteY3" fmla="*/ 19738 h 142875"/>
                  <a:gd name="connsiteX4" fmla="*/ 179005 w 247650"/>
                  <a:gd name="connsiteY4" fmla="*/ 7355 h 142875"/>
                  <a:gd name="connsiteX5" fmla="*/ 123760 w 247650"/>
                  <a:gd name="connsiteY5" fmla="*/ 7355 h 142875"/>
                  <a:gd name="connsiteX6" fmla="*/ 71372 w 247650"/>
                  <a:gd name="connsiteY6" fmla="*/ 7355 h 142875"/>
                  <a:gd name="connsiteX7" fmla="*/ 48512 w 247650"/>
                  <a:gd name="connsiteY7" fmla="*/ 19738 h 142875"/>
                  <a:gd name="connsiteX8" fmla="*/ 11365 w 247650"/>
                  <a:gd name="connsiteY8" fmla="*/ 80698 h 142875"/>
                  <a:gd name="connsiteX9" fmla="*/ 15175 w 247650"/>
                  <a:gd name="connsiteY9" fmla="*/ 114988 h 142875"/>
                  <a:gd name="connsiteX10" fmla="*/ 37082 w 247650"/>
                  <a:gd name="connsiteY10" fmla="*/ 13784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142875">
                    <a:moveTo>
                      <a:pt x="212342" y="137848"/>
                    </a:moveTo>
                    <a:cubicBezTo>
                      <a:pt x="234250" y="114988"/>
                      <a:pt x="234250" y="114988"/>
                      <a:pt x="234250" y="114988"/>
                    </a:cubicBezTo>
                    <a:cubicBezTo>
                      <a:pt x="242822" y="105463"/>
                      <a:pt x="244727" y="92128"/>
                      <a:pt x="238060" y="80698"/>
                    </a:cubicBezTo>
                    <a:cubicBezTo>
                      <a:pt x="200912" y="19738"/>
                      <a:pt x="200912" y="19738"/>
                      <a:pt x="200912" y="19738"/>
                    </a:cubicBezTo>
                    <a:cubicBezTo>
                      <a:pt x="196150" y="12118"/>
                      <a:pt x="187577" y="7355"/>
                      <a:pt x="179005" y="7355"/>
                    </a:cubicBezTo>
                    <a:cubicBezTo>
                      <a:pt x="123760" y="7355"/>
                      <a:pt x="123760" y="7355"/>
                      <a:pt x="123760" y="7355"/>
                    </a:cubicBezTo>
                    <a:cubicBezTo>
                      <a:pt x="71372" y="7355"/>
                      <a:pt x="71372" y="7355"/>
                      <a:pt x="71372" y="7355"/>
                    </a:cubicBezTo>
                    <a:cubicBezTo>
                      <a:pt x="61847" y="7355"/>
                      <a:pt x="54227" y="12118"/>
                      <a:pt x="48512" y="19738"/>
                    </a:cubicBezTo>
                    <a:cubicBezTo>
                      <a:pt x="11365" y="80698"/>
                      <a:pt x="11365" y="80698"/>
                      <a:pt x="11365" y="80698"/>
                    </a:cubicBezTo>
                    <a:cubicBezTo>
                      <a:pt x="4697" y="91175"/>
                      <a:pt x="6602" y="105463"/>
                      <a:pt x="15175" y="114988"/>
                    </a:cubicBezTo>
                    <a:cubicBezTo>
                      <a:pt x="37082" y="137848"/>
                      <a:pt x="37082" y="137848"/>
                      <a:pt x="37082" y="137848"/>
                    </a:cubicBez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42" name="Freeform: Shape 441">
                <a:extLst>
                  <a:ext uri="{FF2B5EF4-FFF2-40B4-BE49-F238E27FC236}">
                    <a16:creationId xmlns:a16="http://schemas.microsoft.com/office/drawing/2014/main" id="{DADE1964-C998-45FB-997C-8AF8590AFB5E}"/>
                  </a:ext>
                </a:extLst>
              </p:cNvPr>
              <p:cNvSpPr/>
              <p:nvPr/>
            </p:nvSpPr>
            <p:spPr>
              <a:xfrm>
                <a:off x="1719889" y="3515739"/>
                <a:ext cx="161929" cy="95253"/>
              </a:xfrm>
              <a:custGeom>
                <a:avLst/>
                <a:gdLst>
                  <a:gd name="connsiteX0" fmla="*/ 150230 w 161925"/>
                  <a:gd name="connsiteY0" fmla="*/ 94985 h 95250"/>
                  <a:gd name="connsiteX1" fmla="*/ 13070 w 161925"/>
                  <a:gd name="connsiteY1" fmla="*/ 94985 h 95250"/>
                  <a:gd name="connsiteX2" fmla="*/ 7355 w 161925"/>
                  <a:gd name="connsiteY2" fmla="*/ 89270 h 95250"/>
                  <a:gd name="connsiteX3" fmla="*/ 7355 w 161925"/>
                  <a:gd name="connsiteY3" fmla="*/ 13070 h 95250"/>
                  <a:gd name="connsiteX4" fmla="*/ 13070 w 161925"/>
                  <a:gd name="connsiteY4" fmla="*/ 7355 h 95250"/>
                  <a:gd name="connsiteX5" fmla="*/ 150230 w 161925"/>
                  <a:gd name="connsiteY5" fmla="*/ 7355 h 95250"/>
                  <a:gd name="connsiteX6" fmla="*/ 155945 w 161925"/>
                  <a:gd name="connsiteY6" fmla="*/ 13070 h 95250"/>
                  <a:gd name="connsiteX7" fmla="*/ 155945 w 161925"/>
                  <a:gd name="connsiteY7" fmla="*/ 89270 h 95250"/>
                  <a:gd name="connsiteX8" fmla="*/ 150230 w 161925"/>
                  <a:gd name="connsiteY8" fmla="*/ 94985 h 95250"/>
                  <a:gd name="connsiteX9" fmla="*/ 150230 w 161925"/>
                  <a:gd name="connsiteY9" fmla="*/ 9498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95250">
                    <a:moveTo>
                      <a:pt x="150230" y="94985"/>
                    </a:moveTo>
                    <a:cubicBezTo>
                      <a:pt x="13070" y="94985"/>
                      <a:pt x="13070" y="94985"/>
                      <a:pt x="13070" y="94985"/>
                    </a:cubicBezTo>
                    <a:cubicBezTo>
                      <a:pt x="10213" y="94985"/>
                      <a:pt x="7355" y="92128"/>
                      <a:pt x="7355" y="89270"/>
                    </a:cubicBezTo>
                    <a:cubicBezTo>
                      <a:pt x="7355" y="13070"/>
                      <a:pt x="7355" y="13070"/>
                      <a:pt x="7355" y="13070"/>
                    </a:cubicBezTo>
                    <a:cubicBezTo>
                      <a:pt x="7355" y="10213"/>
                      <a:pt x="10213" y="7355"/>
                      <a:pt x="13070" y="7355"/>
                    </a:cubicBezTo>
                    <a:cubicBezTo>
                      <a:pt x="150230" y="7355"/>
                      <a:pt x="150230" y="7355"/>
                      <a:pt x="150230" y="7355"/>
                    </a:cubicBezTo>
                    <a:cubicBezTo>
                      <a:pt x="153088" y="7355"/>
                      <a:pt x="155945" y="10213"/>
                      <a:pt x="155945" y="13070"/>
                    </a:cubicBezTo>
                    <a:cubicBezTo>
                      <a:pt x="155945" y="89270"/>
                      <a:pt x="155945" y="89270"/>
                      <a:pt x="155945" y="89270"/>
                    </a:cubicBezTo>
                    <a:cubicBezTo>
                      <a:pt x="155945" y="93080"/>
                      <a:pt x="154040" y="94985"/>
                      <a:pt x="150230" y="94985"/>
                    </a:cubicBezTo>
                    <a:lnTo>
                      <a:pt x="150230" y="94985"/>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43" name="Freeform: Shape 442">
                <a:extLst>
                  <a:ext uri="{FF2B5EF4-FFF2-40B4-BE49-F238E27FC236}">
                    <a16:creationId xmlns:a16="http://schemas.microsoft.com/office/drawing/2014/main" id="{723B5A6B-A5FF-4DD7-B9FA-B25E468373A0}"/>
                  </a:ext>
                </a:extLst>
              </p:cNvPr>
              <p:cNvSpPr/>
              <p:nvPr/>
            </p:nvSpPr>
            <p:spPr>
              <a:xfrm>
                <a:off x="1691313" y="3624327"/>
                <a:ext cx="219081" cy="9525"/>
              </a:xfrm>
              <a:custGeom>
                <a:avLst/>
                <a:gdLst>
                  <a:gd name="connsiteX0" fmla="*/ 7355 w 219075"/>
                  <a:gd name="connsiteY0" fmla="*/ 7355 h 9525"/>
                  <a:gd name="connsiteX1" fmla="*/ 214048 w 219075"/>
                  <a:gd name="connsiteY1" fmla="*/ 7355 h 9525"/>
                </a:gdLst>
                <a:ahLst/>
                <a:cxnLst>
                  <a:cxn ang="0">
                    <a:pos x="connsiteX0" y="connsiteY0"/>
                  </a:cxn>
                  <a:cxn ang="0">
                    <a:pos x="connsiteX1" y="connsiteY1"/>
                  </a:cxn>
                </a:cxnLst>
                <a:rect l="l" t="t" r="r" b="b"/>
                <a:pathLst>
                  <a:path w="219075" h="9525">
                    <a:moveTo>
                      <a:pt x="7355" y="7355"/>
                    </a:moveTo>
                    <a:lnTo>
                      <a:pt x="214048" y="7355"/>
                    </a:ln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44" name="Freeform: Shape 443">
                <a:extLst>
                  <a:ext uri="{FF2B5EF4-FFF2-40B4-BE49-F238E27FC236}">
                    <a16:creationId xmlns:a16="http://schemas.microsoft.com/office/drawing/2014/main" id="{17C5DC58-96BA-414E-83D2-F4FE8EA33E2F}"/>
                  </a:ext>
                </a:extLst>
              </p:cNvPr>
              <p:cNvSpPr/>
              <p:nvPr/>
            </p:nvSpPr>
            <p:spPr>
              <a:xfrm>
                <a:off x="1749416" y="3341415"/>
                <a:ext cx="104778" cy="104778"/>
              </a:xfrm>
              <a:custGeom>
                <a:avLst/>
                <a:gdLst>
                  <a:gd name="connsiteX0" fmla="*/ 7355 w 104775"/>
                  <a:gd name="connsiteY0" fmla="*/ 54980 h 104775"/>
                  <a:gd name="connsiteX1" fmla="*/ 53075 w 104775"/>
                  <a:gd name="connsiteY1" fmla="*/ 7355 h 104775"/>
                  <a:gd name="connsiteX2" fmla="*/ 98795 w 104775"/>
                  <a:gd name="connsiteY2" fmla="*/ 54980 h 104775"/>
                  <a:gd name="connsiteX3" fmla="*/ 53075 w 104775"/>
                  <a:gd name="connsiteY3" fmla="*/ 102605 h 104775"/>
                  <a:gd name="connsiteX4" fmla="*/ 7355 w 104775"/>
                  <a:gd name="connsiteY4" fmla="*/ 54980 h 104775"/>
                  <a:gd name="connsiteX5" fmla="*/ 7355 w 104775"/>
                  <a:gd name="connsiteY5" fmla="*/ 5498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7355" y="54980"/>
                    </a:moveTo>
                    <a:cubicBezTo>
                      <a:pt x="7355" y="28310"/>
                      <a:pt x="27358" y="7355"/>
                      <a:pt x="53075" y="7355"/>
                    </a:cubicBezTo>
                    <a:cubicBezTo>
                      <a:pt x="78793" y="7355"/>
                      <a:pt x="98795" y="29263"/>
                      <a:pt x="98795" y="54980"/>
                    </a:cubicBezTo>
                    <a:cubicBezTo>
                      <a:pt x="98795" y="81650"/>
                      <a:pt x="78793" y="102605"/>
                      <a:pt x="53075" y="102605"/>
                    </a:cubicBezTo>
                    <a:cubicBezTo>
                      <a:pt x="27358" y="102605"/>
                      <a:pt x="7355" y="80698"/>
                      <a:pt x="7355" y="54980"/>
                    </a:cubicBezTo>
                    <a:lnTo>
                      <a:pt x="7355" y="54980"/>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45" name="Freeform: Shape 444">
                <a:extLst>
                  <a:ext uri="{FF2B5EF4-FFF2-40B4-BE49-F238E27FC236}">
                    <a16:creationId xmlns:a16="http://schemas.microsoft.com/office/drawing/2014/main" id="{D0A15154-B5D9-4413-867D-5F178DBBBB27}"/>
                  </a:ext>
                </a:extLst>
              </p:cNvPr>
              <p:cNvSpPr/>
              <p:nvPr/>
            </p:nvSpPr>
            <p:spPr>
              <a:xfrm>
                <a:off x="1672225" y="3323325"/>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46" name="Freeform: Shape 445">
                <a:extLst>
                  <a:ext uri="{FF2B5EF4-FFF2-40B4-BE49-F238E27FC236}">
                    <a16:creationId xmlns:a16="http://schemas.microsoft.com/office/drawing/2014/main" id="{DA4F93B6-21DA-421D-B589-F9825BA53830}"/>
                  </a:ext>
                </a:extLst>
              </p:cNvPr>
              <p:cNvSpPr/>
              <p:nvPr/>
            </p:nvSpPr>
            <p:spPr>
              <a:xfrm>
                <a:off x="1672465" y="3323500"/>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47" name="Freeform: Shape 446">
                <a:extLst>
                  <a:ext uri="{FF2B5EF4-FFF2-40B4-BE49-F238E27FC236}">
                    <a16:creationId xmlns:a16="http://schemas.microsoft.com/office/drawing/2014/main" id="{EDB1261E-767B-4A12-AF94-4FF36BF5EBE7}"/>
                  </a:ext>
                </a:extLst>
              </p:cNvPr>
              <p:cNvSpPr/>
              <p:nvPr/>
            </p:nvSpPr>
            <p:spPr>
              <a:xfrm>
                <a:off x="1672226" y="3323226"/>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grpSp>
        <p:grpSp>
          <p:nvGrpSpPr>
            <p:cNvPr id="211" name="Group 210">
              <a:extLst>
                <a:ext uri="{FF2B5EF4-FFF2-40B4-BE49-F238E27FC236}">
                  <a16:creationId xmlns:a16="http://schemas.microsoft.com/office/drawing/2014/main" id="{A539A773-3F2C-4E31-916A-FAF1FFA3A0AC}"/>
                </a:ext>
              </a:extLst>
            </p:cNvPr>
            <p:cNvGrpSpPr/>
            <p:nvPr/>
          </p:nvGrpSpPr>
          <p:grpSpPr>
            <a:xfrm>
              <a:off x="6405190" y="4156913"/>
              <a:ext cx="334947" cy="412448"/>
              <a:chOff x="1672225" y="3323226"/>
              <a:chExt cx="252256" cy="310626"/>
            </a:xfrm>
            <a:grpFill/>
          </p:grpSpPr>
          <p:sp>
            <p:nvSpPr>
              <p:cNvPr id="434" name="Freeform: Shape 433">
                <a:extLst>
                  <a:ext uri="{FF2B5EF4-FFF2-40B4-BE49-F238E27FC236}">
                    <a16:creationId xmlns:a16="http://schemas.microsoft.com/office/drawing/2014/main" id="{C0EE65DF-C302-468B-8137-5C6E50E53705}"/>
                  </a:ext>
                </a:extLst>
              </p:cNvPr>
              <p:cNvSpPr/>
              <p:nvPr/>
            </p:nvSpPr>
            <p:spPr>
              <a:xfrm>
                <a:off x="1676825" y="3460493"/>
                <a:ext cx="247656" cy="142880"/>
              </a:xfrm>
              <a:custGeom>
                <a:avLst/>
                <a:gdLst>
                  <a:gd name="connsiteX0" fmla="*/ 212342 w 247650"/>
                  <a:gd name="connsiteY0" fmla="*/ 137848 h 142875"/>
                  <a:gd name="connsiteX1" fmla="*/ 234250 w 247650"/>
                  <a:gd name="connsiteY1" fmla="*/ 114988 h 142875"/>
                  <a:gd name="connsiteX2" fmla="*/ 238060 w 247650"/>
                  <a:gd name="connsiteY2" fmla="*/ 80698 h 142875"/>
                  <a:gd name="connsiteX3" fmla="*/ 200912 w 247650"/>
                  <a:gd name="connsiteY3" fmla="*/ 19738 h 142875"/>
                  <a:gd name="connsiteX4" fmla="*/ 179005 w 247650"/>
                  <a:gd name="connsiteY4" fmla="*/ 7355 h 142875"/>
                  <a:gd name="connsiteX5" fmla="*/ 123760 w 247650"/>
                  <a:gd name="connsiteY5" fmla="*/ 7355 h 142875"/>
                  <a:gd name="connsiteX6" fmla="*/ 71372 w 247650"/>
                  <a:gd name="connsiteY6" fmla="*/ 7355 h 142875"/>
                  <a:gd name="connsiteX7" fmla="*/ 48512 w 247650"/>
                  <a:gd name="connsiteY7" fmla="*/ 19738 h 142875"/>
                  <a:gd name="connsiteX8" fmla="*/ 11365 w 247650"/>
                  <a:gd name="connsiteY8" fmla="*/ 80698 h 142875"/>
                  <a:gd name="connsiteX9" fmla="*/ 15175 w 247650"/>
                  <a:gd name="connsiteY9" fmla="*/ 114988 h 142875"/>
                  <a:gd name="connsiteX10" fmla="*/ 37082 w 247650"/>
                  <a:gd name="connsiteY10" fmla="*/ 13784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142875">
                    <a:moveTo>
                      <a:pt x="212342" y="137848"/>
                    </a:moveTo>
                    <a:cubicBezTo>
                      <a:pt x="234250" y="114988"/>
                      <a:pt x="234250" y="114988"/>
                      <a:pt x="234250" y="114988"/>
                    </a:cubicBezTo>
                    <a:cubicBezTo>
                      <a:pt x="242822" y="105463"/>
                      <a:pt x="244727" y="92128"/>
                      <a:pt x="238060" y="80698"/>
                    </a:cubicBezTo>
                    <a:cubicBezTo>
                      <a:pt x="200912" y="19738"/>
                      <a:pt x="200912" y="19738"/>
                      <a:pt x="200912" y="19738"/>
                    </a:cubicBezTo>
                    <a:cubicBezTo>
                      <a:pt x="196150" y="12118"/>
                      <a:pt x="187577" y="7355"/>
                      <a:pt x="179005" y="7355"/>
                    </a:cubicBezTo>
                    <a:cubicBezTo>
                      <a:pt x="123760" y="7355"/>
                      <a:pt x="123760" y="7355"/>
                      <a:pt x="123760" y="7355"/>
                    </a:cubicBezTo>
                    <a:cubicBezTo>
                      <a:pt x="71372" y="7355"/>
                      <a:pt x="71372" y="7355"/>
                      <a:pt x="71372" y="7355"/>
                    </a:cubicBezTo>
                    <a:cubicBezTo>
                      <a:pt x="61847" y="7355"/>
                      <a:pt x="54227" y="12118"/>
                      <a:pt x="48512" y="19738"/>
                    </a:cubicBezTo>
                    <a:cubicBezTo>
                      <a:pt x="11365" y="80698"/>
                      <a:pt x="11365" y="80698"/>
                      <a:pt x="11365" y="80698"/>
                    </a:cubicBezTo>
                    <a:cubicBezTo>
                      <a:pt x="4697" y="91175"/>
                      <a:pt x="6602" y="105463"/>
                      <a:pt x="15175" y="114988"/>
                    </a:cubicBezTo>
                    <a:cubicBezTo>
                      <a:pt x="37082" y="137848"/>
                      <a:pt x="37082" y="137848"/>
                      <a:pt x="37082" y="137848"/>
                    </a:cubicBez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35" name="Freeform: Shape 434">
                <a:extLst>
                  <a:ext uri="{FF2B5EF4-FFF2-40B4-BE49-F238E27FC236}">
                    <a16:creationId xmlns:a16="http://schemas.microsoft.com/office/drawing/2014/main" id="{2BD74503-9738-46D4-94DB-A2A36B9AB95C}"/>
                  </a:ext>
                </a:extLst>
              </p:cNvPr>
              <p:cNvSpPr/>
              <p:nvPr/>
            </p:nvSpPr>
            <p:spPr>
              <a:xfrm>
                <a:off x="1719889" y="3515739"/>
                <a:ext cx="161929" cy="95253"/>
              </a:xfrm>
              <a:custGeom>
                <a:avLst/>
                <a:gdLst>
                  <a:gd name="connsiteX0" fmla="*/ 150230 w 161925"/>
                  <a:gd name="connsiteY0" fmla="*/ 94985 h 95250"/>
                  <a:gd name="connsiteX1" fmla="*/ 13070 w 161925"/>
                  <a:gd name="connsiteY1" fmla="*/ 94985 h 95250"/>
                  <a:gd name="connsiteX2" fmla="*/ 7355 w 161925"/>
                  <a:gd name="connsiteY2" fmla="*/ 89270 h 95250"/>
                  <a:gd name="connsiteX3" fmla="*/ 7355 w 161925"/>
                  <a:gd name="connsiteY3" fmla="*/ 13070 h 95250"/>
                  <a:gd name="connsiteX4" fmla="*/ 13070 w 161925"/>
                  <a:gd name="connsiteY4" fmla="*/ 7355 h 95250"/>
                  <a:gd name="connsiteX5" fmla="*/ 150230 w 161925"/>
                  <a:gd name="connsiteY5" fmla="*/ 7355 h 95250"/>
                  <a:gd name="connsiteX6" fmla="*/ 155945 w 161925"/>
                  <a:gd name="connsiteY6" fmla="*/ 13070 h 95250"/>
                  <a:gd name="connsiteX7" fmla="*/ 155945 w 161925"/>
                  <a:gd name="connsiteY7" fmla="*/ 89270 h 95250"/>
                  <a:gd name="connsiteX8" fmla="*/ 150230 w 161925"/>
                  <a:gd name="connsiteY8" fmla="*/ 94985 h 95250"/>
                  <a:gd name="connsiteX9" fmla="*/ 150230 w 161925"/>
                  <a:gd name="connsiteY9" fmla="*/ 9498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95250">
                    <a:moveTo>
                      <a:pt x="150230" y="94985"/>
                    </a:moveTo>
                    <a:cubicBezTo>
                      <a:pt x="13070" y="94985"/>
                      <a:pt x="13070" y="94985"/>
                      <a:pt x="13070" y="94985"/>
                    </a:cubicBezTo>
                    <a:cubicBezTo>
                      <a:pt x="10213" y="94985"/>
                      <a:pt x="7355" y="92128"/>
                      <a:pt x="7355" y="89270"/>
                    </a:cubicBezTo>
                    <a:cubicBezTo>
                      <a:pt x="7355" y="13070"/>
                      <a:pt x="7355" y="13070"/>
                      <a:pt x="7355" y="13070"/>
                    </a:cubicBezTo>
                    <a:cubicBezTo>
                      <a:pt x="7355" y="10213"/>
                      <a:pt x="10213" y="7355"/>
                      <a:pt x="13070" y="7355"/>
                    </a:cubicBezTo>
                    <a:cubicBezTo>
                      <a:pt x="150230" y="7355"/>
                      <a:pt x="150230" y="7355"/>
                      <a:pt x="150230" y="7355"/>
                    </a:cubicBezTo>
                    <a:cubicBezTo>
                      <a:pt x="153088" y="7355"/>
                      <a:pt x="155945" y="10213"/>
                      <a:pt x="155945" y="13070"/>
                    </a:cubicBezTo>
                    <a:cubicBezTo>
                      <a:pt x="155945" y="89270"/>
                      <a:pt x="155945" y="89270"/>
                      <a:pt x="155945" y="89270"/>
                    </a:cubicBezTo>
                    <a:cubicBezTo>
                      <a:pt x="155945" y="93080"/>
                      <a:pt x="154040" y="94985"/>
                      <a:pt x="150230" y="94985"/>
                    </a:cubicBezTo>
                    <a:lnTo>
                      <a:pt x="150230" y="94985"/>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36" name="Freeform: Shape 435">
                <a:extLst>
                  <a:ext uri="{FF2B5EF4-FFF2-40B4-BE49-F238E27FC236}">
                    <a16:creationId xmlns:a16="http://schemas.microsoft.com/office/drawing/2014/main" id="{B76FDE28-E5BA-4C6A-BF23-E1864C771E53}"/>
                  </a:ext>
                </a:extLst>
              </p:cNvPr>
              <p:cNvSpPr/>
              <p:nvPr/>
            </p:nvSpPr>
            <p:spPr>
              <a:xfrm>
                <a:off x="1691313" y="3624327"/>
                <a:ext cx="219081" cy="9525"/>
              </a:xfrm>
              <a:custGeom>
                <a:avLst/>
                <a:gdLst>
                  <a:gd name="connsiteX0" fmla="*/ 7355 w 219075"/>
                  <a:gd name="connsiteY0" fmla="*/ 7355 h 9525"/>
                  <a:gd name="connsiteX1" fmla="*/ 214048 w 219075"/>
                  <a:gd name="connsiteY1" fmla="*/ 7355 h 9525"/>
                </a:gdLst>
                <a:ahLst/>
                <a:cxnLst>
                  <a:cxn ang="0">
                    <a:pos x="connsiteX0" y="connsiteY0"/>
                  </a:cxn>
                  <a:cxn ang="0">
                    <a:pos x="connsiteX1" y="connsiteY1"/>
                  </a:cxn>
                </a:cxnLst>
                <a:rect l="l" t="t" r="r" b="b"/>
                <a:pathLst>
                  <a:path w="219075" h="9525">
                    <a:moveTo>
                      <a:pt x="7355" y="7355"/>
                    </a:moveTo>
                    <a:lnTo>
                      <a:pt x="214048" y="7355"/>
                    </a:ln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37" name="Freeform: Shape 436">
                <a:extLst>
                  <a:ext uri="{FF2B5EF4-FFF2-40B4-BE49-F238E27FC236}">
                    <a16:creationId xmlns:a16="http://schemas.microsoft.com/office/drawing/2014/main" id="{64936B16-FB6C-4083-AE81-6C9470C53820}"/>
                  </a:ext>
                </a:extLst>
              </p:cNvPr>
              <p:cNvSpPr/>
              <p:nvPr/>
            </p:nvSpPr>
            <p:spPr>
              <a:xfrm>
                <a:off x="1749416" y="3341415"/>
                <a:ext cx="104778" cy="104778"/>
              </a:xfrm>
              <a:custGeom>
                <a:avLst/>
                <a:gdLst>
                  <a:gd name="connsiteX0" fmla="*/ 7355 w 104775"/>
                  <a:gd name="connsiteY0" fmla="*/ 54980 h 104775"/>
                  <a:gd name="connsiteX1" fmla="*/ 53075 w 104775"/>
                  <a:gd name="connsiteY1" fmla="*/ 7355 h 104775"/>
                  <a:gd name="connsiteX2" fmla="*/ 98795 w 104775"/>
                  <a:gd name="connsiteY2" fmla="*/ 54980 h 104775"/>
                  <a:gd name="connsiteX3" fmla="*/ 53075 w 104775"/>
                  <a:gd name="connsiteY3" fmla="*/ 102605 h 104775"/>
                  <a:gd name="connsiteX4" fmla="*/ 7355 w 104775"/>
                  <a:gd name="connsiteY4" fmla="*/ 54980 h 104775"/>
                  <a:gd name="connsiteX5" fmla="*/ 7355 w 104775"/>
                  <a:gd name="connsiteY5" fmla="*/ 5498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7355" y="54980"/>
                    </a:moveTo>
                    <a:cubicBezTo>
                      <a:pt x="7355" y="28310"/>
                      <a:pt x="27358" y="7355"/>
                      <a:pt x="53075" y="7355"/>
                    </a:cubicBezTo>
                    <a:cubicBezTo>
                      <a:pt x="78793" y="7355"/>
                      <a:pt x="98795" y="29263"/>
                      <a:pt x="98795" y="54980"/>
                    </a:cubicBezTo>
                    <a:cubicBezTo>
                      <a:pt x="98795" y="81650"/>
                      <a:pt x="78793" y="102605"/>
                      <a:pt x="53075" y="102605"/>
                    </a:cubicBezTo>
                    <a:cubicBezTo>
                      <a:pt x="27358" y="102605"/>
                      <a:pt x="7355" y="80698"/>
                      <a:pt x="7355" y="54980"/>
                    </a:cubicBezTo>
                    <a:lnTo>
                      <a:pt x="7355" y="54980"/>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38" name="Freeform: Shape 437">
                <a:extLst>
                  <a:ext uri="{FF2B5EF4-FFF2-40B4-BE49-F238E27FC236}">
                    <a16:creationId xmlns:a16="http://schemas.microsoft.com/office/drawing/2014/main" id="{194148CE-023B-4609-AA6B-BF14C4CE9681}"/>
                  </a:ext>
                </a:extLst>
              </p:cNvPr>
              <p:cNvSpPr/>
              <p:nvPr/>
            </p:nvSpPr>
            <p:spPr>
              <a:xfrm>
                <a:off x="1672225" y="3323325"/>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39" name="Freeform: Shape 438">
                <a:extLst>
                  <a:ext uri="{FF2B5EF4-FFF2-40B4-BE49-F238E27FC236}">
                    <a16:creationId xmlns:a16="http://schemas.microsoft.com/office/drawing/2014/main" id="{B70A3216-83EE-4347-B6C1-448C3C353203}"/>
                  </a:ext>
                </a:extLst>
              </p:cNvPr>
              <p:cNvSpPr/>
              <p:nvPr/>
            </p:nvSpPr>
            <p:spPr>
              <a:xfrm>
                <a:off x="1672465" y="3323500"/>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40" name="Freeform: Shape 439">
                <a:extLst>
                  <a:ext uri="{FF2B5EF4-FFF2-40B4-BE49-F238E27FC236}">
                    <a16:creationId xmlns:a16="http://schemas.microsoft.com/office/drawing/2014/main" id="{EFF49102-DE6C-4A15-878C-BE5E8CFD28C5}"/>
                  </a:ext>
                </a:extLst>
              </p:cNvPr>
              <p:cNvSpPr/>
              <p:nvPr/>
            </p:nvSpPr>
            <p:spPr>
              <a:xfrm>
                <a:off x="1672226" y="3323226"/>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grpSp>
        <p:grpSp>
          <p:nvGrpSpPr>
            <p:cNvPr id="212" name="Group 211">
              <a:extLst>
                <a:ext uri="{FF2B5EF4-FFF2-40B4-BE49-F238E27FC236}">
                  <a16:creationId xmlns:a16="http://schemas.microsoft.com/office/drawing/2014/main" id="{BBDA7CBA-F8CA-4071-BA07-0A4851AB49A6}"/>
                </a:ext>
              </a:extLst>
            </p:cNvPr>
            <p:cNvGrpSpPr/>
            <p:nvPr/>
          </p:nvGrpSpPr>
          <p:grpSpPr>
            <a:xfrm>
              <a:off x="7148566" y="4156913"/>
              <a:ext cx="334947" cy="412448"/>
              <a:chOff x="1672225" y="3323226"/>
              <a:chExt cx="252256" cy="310626"/>
            </a:xfrm>
            <a:grpFill/>
          </p:grpSpPr>
          <p:sp>
            <p:nvSpPr>
              <p:cNvPr id="427" name="Freeform: Shape 426">
                <a:extLst>
                  <a:ext uri="{FF2B5EF4-FFF2-40B4-BE49-F238E27FC236}">
                    <a16:creationId xmlns:a16="http://schemas.microsoft.com/office/drawing/2014/main" id="{697B2BE3-FEC5-48E1-9CF8-638357BB64C7}"/>
                  </a:ext>
                </a:extLst>
              </p:cNvPr>
              <p:cNvSpPr/>
              <p:nvPr/>
            </p:nvSpPr>
            <p:spPr>
              <a:xfrm>
                <a:off x="1676825" y="3460493"/>
                <a:ext cx="247656" cy="142880"/>
              </a:xfrm>
              <a:custGeom>
                <a:avLst/>
                <a:gdLst>
                  <a:gd name="connsiteX0" fmla="*/ 212342 w 247650"/>
                  <a:gd name="connsiteY0" fmla="*/ 137848 h 142875"/>
                  <a:gd name="connsiteX1" fmla="*/ 234250 w 247650"/>
                  <a:gd name="connsiteY1" fmla="*/ 114988 h 142875"/>
                  <a:gd name="connsiteX2" fmla="*/ 238060 w 247650"/>
                  <a:gd name="connsiteY2" fmla="*/ 80698 h 142875"/>
                  <a:gd name="connsiteX3" fmla="*/ 200912 w 247650"/>
                  <a:gd name="connsiteY3" fmla="*/ 19738 h 142875"/>
                  <a:gd name="connsiteX4" fmla="*/ 179005 w 247650"/>
                  <a:gd name="connsiteY4" fmla="*/ 7355 h 142875"/>
                  <a:gd name="connsiteX5" fmla="*/ 123760 w 247650"/>
                  <a:gd name="connsiteY5" fmla="*/ 7355 h 142875"/>
                  <a:gd name="connsiteX6" fmla="*/ 71372 w 247650"/>
                  <a:gd name="connsiteY6" fmla="*/ 7355 h 142875"/>
                  <a:gd name="connsiteX7" fmla="*/ 48512 w 247650"/>
                  <a:gd name="connsiteY7" fmla="*/ 19738 h 142875"/>
                  <a:gd name="connsiteX8" fmla="*/ 11365 w 247650"/>
                  <a:gd name="connsiteY8" fmla="*/ 80698 h 142875"/>
                  <a:gd name="connsiteX9" fmla="*/ 15175 w 247650"/>
                  <a:gd name="connsiteY9" fmla="*/ 114988 h 142875"/>
                  <a:gd name="connsiteX10" fmla="*/ 37082 w 247650"/>
                  <a:gd name="connsiteY10" fmla="*/ 13784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142875">
                    <a:moveTo>
                      <a:pt x="212342" y="137848"/>
                    </a:moveTo>
                    <a:cubicBezTo>
                      <a:pt x="234250" y="114988"/>
                      <a:pt x="234250" y="114988"/>
                      <a:pt x="234250" y="114988"/>
                    </a:cubicBezTo>
                    <a:cubicBezTo>
                      <a:pt x="242822" y="105463"/>
                      <a:pt x="244727" y="92128"/>
                      <a:pt x="238060" y="80698"/>
                    </a:cubicBezTo>
                    <a:cubicBezTo>
                      <a:pt x="200912" y="19738"/>
                      <a:pt x="200912" y="19738"/>
                      <a:pt x="200912" y="19738"/>
                    </a:cubicBezTo>
                    <a:cubicBezTo>
                      <a:pt x="196150" y="12118"/>
                      <a:pt x="187577" y="7355"/>
                      <a:pt x="179005" y="7355"/>
                    </a:cubicBezTo>
                    <a:cubicBezTo>
                      <a:pt x="123760" y="7355"/>
                      <a:pt x="123760" y="7355"/>
                      <a:pt x="123760" y="7355"/>
                    </a:cubicBezTo>
                    <a:cubicBezTo>
                      <a:pt x="71372" y="7355"/>
                      <a:pt x="71372" y="7355"/>
                      <a:pt x="71372" y="7355"/>
                    </a:cubicBezTo>
                    <a:cubicBezTo>
                      <a:pt x="61847" y="7355"/>
                      <a:pt x="54227" y="12118"/>
                      <a:pt x="48512" y="19738"/>
                    </a:cubicBezTo>
                    <a:cubicBezTo>
                      <a:pt x="11365" y="80698"/>
                      <a:pt x="11365" y="80698"/>
                      <a:pt x="11365" y="80698"/>
                    </a:cubicBezTo>
                    <a:cubicBezTo>
                      <a:pt x="4697" y="91175"/>
                      <a:pt x="6602" y="105463"/>
                      <a:pt x="15175" y="114988"/>
                    </a:cubicBezTo>
                    <a:cubicBezTo>
                      <a:pt x="37082" y="137848"/>
                      <a:pt x="37082" y="137848"/>
                      <a:pt x="37082" y="137848"/>
                    </a:cubicBez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28" name="Freeform: Shape 427">
                <a:extLst>
                  <a:ext uri="{FF2B5EF4-FFF2-40B4-BE49-F238E27FC236}">
                    <a16:creationId xmlns:a16="http://schemas.microsoft.com/office/drawing/2014/main" id="{194185F2-35E5-4EC8-AB52-6B5F861BEDCE}"/>
                  </a:ext>
                </a:extLst>
              </p:cNvPr>
              <p:cNvSpPr/>
              <p:nvPr/>
            </p:nvSpPr>
            <p:spPr>
              <a:xfrm>
                <a:off x="1719889" y="3515739"/>
                <a:ext cx="161929" cy="95253"/>
              </a:xfrm>
              <a:custGeom>
                <a:avLst/>
                <a:gdLst>
                  <a:gd name="connsiteX0" fmla="*/ 150230 w 161925"/>
                  <a:gd name="connsiteY0" fmla="*/ 94985 h 95250"/>
                  <a:gd name="connsiteX1" fmla="*/ 13070 w 161925"/>
                  <a:gd name="connsiteY1" fmla="*/ 94985 h 95250"/>
                  <a:gd name="connsiteX2" fmla="*/ 7355 w 161925"/>
                  <a:gd name="connsiteY2" fmla="*/ 89270 h 95250"/>
                  <a:gd name="connsiteX3" fmla="*/ 7355 w 161925"/>
                  <a:gd name="connsiteY3" fmla="*/ 13070 h 95250"/>
                  <a:gd name="connsiteX4" fmla="*/ 13070 w 161925"/>
                  <a:gd name="connsiteY4" fmla="*/ 7355 h 95250"/>
                  <a:gd name="connsiteX5" fmla="*/ 150230 w 161925"/>
                  <a:gd name="connsiteY5" fmla="*/ 7355 h 95250"/>
                  <a:gd name="connsiteX6" fmla="*/ 155945 w 161925"/>
                  <a:gd name="connsiteY6" fmla="*/ 13070 h 95250"/>
                  <a:gd name="connsiteX7" fmla="*/ 155945 w 161925"/>
                  <a:gd name="connsiteY7" fmla="*/ 89270 h 95250"/>
                  <a:gd name="connsiteX8" fmla="*/ 150230 w 161925"/>
                  <a:gd name="connsiteY8" fmla="*/ 94985 h 95250"/>
                  <a:gd name="connsiteX9" fmla="*/ 150230 w 161925"/>
                  <a:gd name="connsiteY9" fmla="*/ 9498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95250">
                    <a:moveTo>
                      <a:pt x="150230" y="94985"/>
                    </a:moveTo>
                    <a:cubicBezTo>
                      <a:pt x="13070" y="94985"/>
                      <a:pt x="13070" y="94985"/>
                      <a:pt x="13070" y="94985"/>
                    </a:cubicBezTo>
                    <a:cubicBezTo>
                      <a:pt x="10213" y="94985"/>
                      <a:pt x="7355" y="92128"/>
                      <a:pt x="7355" y="89270"/>
                    </a:cubicBezTo>
                    <a:cubicBezTo>
                      <a:pt x="7355" y="13070"/>
                      <a:pt x="7355" y="13070"/>
                      <a:pt x="7355" y="13070"/>
                    </a:cubicBezTo>
                    <a:cubicBezTo>
                      <a:pt x="7355" y="10213"/>
                      <a:pt x="10213" y="7355"/>
                      <a:pt x="13070" y="7355"/>
                    </a:cubicBezTo>
                    <a:cubicBezTo>
                      <a:pt x="150230" y="7355"/>
                      <a:pt x="150230" y="7355"/>
                      <a:pt x="150230" y="7355"/>
                    </a:cubicBezTo>
                    <a:cubicBezTo>
                      <a:pt x="153088" y="7355"/>
                      <a:pt x="155945" y="10213"/>
                      <a:pt x="155945" y="13070"/>
                    </a:cubicBezTo>
                    <a:cubicBezTo>
                      <a:pt x="155945" y="89270"/>
                      <a:pt x="155945" y="89270"/>
                      <a:pt x="155945" y="89270"/>
                    </a:cubicBezTo>
                    <a:cubicBezTo>
                      <a:pt x="155945" y="93080"/>
                      <a:pt x="154040" y="94985"/>
                      <a:pt x="150230" y="94985"/>
                    </a:cubicBezTo>
                    <a:lnTo>
                      <a:pt x="150230" y="94985"/>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29" name="Freeform: Shape 428">
                <a:extLst>
                  <a:ext uri="{FF2B5EF4-FFF2-40B4-BE49-F238E27FC236}">
                    <a16:creationId xmlns:a16="http://schemas.microsoft.com/office/drawing/2014/main" id="{CC95CBD4-7CBA-43CE-9F26-B024E325072A}"/>
                  </a:ext>
                </a:extLst>
              </p:cNvPr>
              <p:cNvSpPr/>
              <p:nvPr/>
            </p:nvSpPr>
            <p:spPr>
              <a:xfrm>
                <a:off x="1691313" y="3624327"/>
                <a:ext cx="219081" cy="9525"/>
              </a:xfrm>
              <a:custGeom>
                <a:avLst/>
                <a:gdLst>
                  <a:gd name="connsiteX0" fmla="*/ 7355 w 219075"/>
                  <a:gd name="connsiteY0" fmla="*/ 7355 h 9525"/>
                  <a:gd name="connsiteX1" fmla="*/ 214048 w 219075"/>
                  <a:gd name="connsiteY1" fmla="*/ 7355 h 9525"/>
                </a:gdLst>
                <a:ahLst/>
                <a:cxnLst>
                  <a:cxn ang="0">
                    <a:pos x="connsiteX0" y="connsiteY0"/>
                  </a:cxn>
                  <a:cxn ang="0">
                    <a:pos x="connsiteX1" y="connsiteY1"/>
                  </a:cxn>
                </a:cxnLst>
                <a:rect l="l" t="t" r="r" b="b"/>
                <a:pathLst>
                  <a:path w="219075" h="9525">
                    <a:moveTo>
                      <a:pt x="7355" y="7355"/>
                    </a:moveTo>
                    <a:lnTo>
                      <a:pt x="214048" y="7355"/>
                    </a:ln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30" name="Freeform: Shape 429">
                <a:extLst>
                  <a:ext uri="{FF2B5EF4-FFF2-40B4-BE49-F238E27FC236}">
                    <a16:creationId xmlns:a16="http://schemas.microsoft.com/office/drawing/2014/main" id="{450822FA-FDF3-41D2-BB8C-DEF641202496}"/>
                  </a:ext>
                </a:extLst>
              </p:cNvPr>
              <p:cNvSpPr/>
              <p:nvPr/>
            </p:nvSpPr>
            <p:spPr>
              <a:xfrm>
                <a:off x="1749416" y="3341415"/>
                <a:ext cx="104778" cy="104778"/>
              </a:xfrm>
              <a:custGeom>
                <a:avLst/>
                <a:gdLst>
                  <a:gd name="connsiteX0" fmla="*/ 7355 w 104775"/>
                  <a:gd name="connsiteY0" fmla="*/ 54980 h 104775"/>
                  <a:gd name="connsiteX1" fmla="*/ 53075 w 104775"/>
                  <a:gd name="connsiteY1" fmla="*/ 7355 h 104775"/>
                  <a:gd name="connsiteX2" fmla="*/ 98795 w 104775"/>
                  <a:gd name="connsiteY2" fmla="*/ 54980 h 104775"/>
                  <a:gd name="connsiteX3" fmla="*/ 53075 w 104775"/>
                  <a:gd name="connsiteY3" fmla="*/ 102605 h 104775"/>
                  <a:gd name="connsiteX4" fmla="*/ 7355 w 104775"/>
                  <a:gd name="connsiteY4" fmla="*/ 54980 h 104775"/>
                  <a:gd name="connsiteX5" fmla="*/ 7355 w 104775"/>
                  <a:gd name="connsiteY5" fmla="*/ 5498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7355" y="54980"/>
                    </a:moveTo>
                    <a:cubicBezTo>
                      <a:pt x="7355" y="28310"/>
                      <a:pt x="27358" y="7355"/>
                      <a:pt x="53075" y="7355"/>
                    </a:cubicBezTo>
                    <a:cubicBezTo>
                      <a:pt x="78793" y="7355"/>
                      <a:pt x="98795" y="29263"/>
                      <a:pt x="98795" y="54980"/>
                    </a:cubicBezTo>
                    <a:cubicBezTo>
                      <a:pt x="98795" y="81650"/>
                      <a:pt x="78793" y="102605"/>
                      <a:pt x="53075" y="102605"/>
                    </a:cubicBezTo>
                    <a:cubicBezTo>
                      <a:pt x="27358" y="102605"/>
                      <a:pt x="7355" y="80698"/>
                      <a:pt x="7355" y="54980"/>
                    </a:cubicBezTo>
                    <a:lnTo>
                      <a:pt x="7355" y="54980"/>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31" name="Freeform: Shape 430">
                <a:extLst>
                  <a:ext uri="{FF2B5EF4-FFF2-40B4-BE49-F238E27FC236}">
                    <a16:creationId xmlns:a16="http://schemas.microsoft.com/office/drawing/2014/main" id="{8CD4A709-4668-437C-879B-C1AC0D5F26D3}"/>
                  </a:ext>
                </a:extLst>
              </p:cNvPr>
              <p:cNvSpPr/>
              <p:nvPr/>
            </p:nvSpPr>
            <p:spPr>
              <a:xfrm>
                <a:off x="1672225" y="3323325"/>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32" name="Freeform: Shape 431">
                <a:extLst>
                  <a:ext uri="{FF2B5EF4-FFF2-40B4-BE49-F238E27FC236}">
                    <a16:creationId xmlns:a16="http://schemas.microsoft.com/office/drawing/2014/main" id="{868DDE1A-1301-4D5F-AB92-D2D1D65899BE}"/>
                  </a:ext>
                </a:extLst>
              </p:cNvPr>
              <p:cNvSpPr/>
              <p:nvPr/>
            </p:nvSpPr>
            <p:spPr>
              <a:xfrm>
                <a:off x="1672465" y="3323500"/>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33" name="Freeform: Shape 432">
                <a:extLst>
                  <a:ext uri="{FF2B5EF4-FFF2-40B4-BE49-F238E27FC236}">
                    <a16:creationId xmlns:a16="http://schemas.microsoft.com/office/drawing/2014/main" id="{EBCE69E7-FDFF-4E9C-81CE-0BEFA6B2470A}"/>
                  </a:ext>
                </a:extLst>
              </p:cNvPr>
              <p:cNvSpPr/>
              <p:nvPr/>
            </p:nvSpPr>
            <p:spPr>
              <a:xfrm>
                <a:off x="1672226" y="3323226"/>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grpSp>
        <p:grpSp>
          <p:nvGrpSpPr>
            <p:cNvPr id="379" name="Group 378">
              <a:extLst>
                <a:ext uri="{FF2B5EF4-FFF2-40B4-BE49-F238E27FC236}">
                  <a16:creationId xmlns:a16="http://schemas.microsoft.com/office/drawing/2014/main" id="{A3EAA567-930A-4CF6-B868-BD671E51C1FF}"/>
                </a:ext>
              </a:extLst>
            </p:cNvPr>
            <p:cNvGrpSpPr/>
            <p:nvPr/>
          </p:nvGrpSpPr>
          <p:grpSpPr>
            <a:xfrm>
              <a:off x="5661814" y="4812833"/>
              <a:ext cx="334947" cy="412448"/>
              <a:chOff x="1672225" y="3323226"/>
              <a:chExt cx="252256" cy="310626"/>
            </a:xfrm>
            <a:grpFill/>
          </p:grpSpPr>
          <p:sp>
            <p:nvSpPr>
              <p:cNvPr id="420" name="Freeform: Shape 419">
                <a:extLst>
                  <a:ext uri="{FF2B5EF4-FFF2-40B4-BE49-F238E27FC236}">
                    <a16:creationId xmlns:a16="http://schemas.microsoft.com/office/drawing/2014/main" id="{607F5FF2-F4F4-4F03-BE98-B2076CEF30FC}"/>
                  </a:ext>
                </a:extLst>
              </p:cNvPr>
              <p:cNvSpPr/>
              <p:nvPr/>
            </p:nvSpPr>
            <p:spPr>
              <a:xfrm>
                <a:off x="1676825" y="3460493"/>
                <a:ext cx="247656" cy="142880"/>
              </a:xfrm>
              <a:custGeom>
                <a:avLst/>
                <a:gdLst>
                  <a:gd name="connsiteX0" fmla="*/ 212342 w 247650"/>
                  <a:gd name="connsiteY0" fmla="*/ 137848 h 142875"/>
                  <a:gd name="connsiteX1" fmla="*/ 234250 w 247650"/>
                  <a:gd name="connsiteY1" fmla="*/ 114988 h 142875"/>
                  <a:gd name="connsiteX2" fmla="*/ 238060 w 247650"/>
                  <a:gd name="connsiteY2" fmla="*/ 80698 h 142875"/>
                  <a:gd name="connsiteX3" fmla="*/ 200912 w 247650"/>
                  <a:gd name="connsiteY3" fmla="*/ 19738 h 142875"/>
                  <a:gd name="connsiteX4" fmla="*/ 179005 w 247650"/>
                  <a:gd name="connsiteY4" fmla="*/ 7355 h 142875"/>
                  <a:gd name="connsiteX5" fmla="*/ 123760 w 247650"/>
                  <a:gd name="connsiteY5" fmla="*/ 7355 h 142875"/>
                  <a:gd name="connsiteX6" fmla="*/ 71372 w 247650"/>
                  <a:gd name="connsiteY6" fmla="*/ 7355 h 142875"/>
                  <a:gd name="connsiteX7" fmla="*/ 48512 w 247650"/>
                  <a:gd name="connsiteY7" fmla="*/ 19738 h 142875"/>
                  <a:gd name="connsiteX8" fmla="*/ 11365 w 247650"/>
                  <a:gd name="connsiteY8" fmla="*/ 80698 h 142875"/>
                  <a:gd name="connsiteX9" fmla="*/ 15175 w 247650"/>
                  <a:gd name="connsiteY9" fmla="*/ 114988 h 142875"/>
                  <a:gd name="connsiteX10" fmla="*/ 37082 w 247650"/>
                  <a:gd name="connsiteY10" fmla="*/ 13784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142875">
                    <a:moveTo>
                      <a:pt x="212342" y="137848"/>
                    </a:moveTo>
                    <a:cubicBezTo>
                      <a:pt x="234250" y="114988"/>
                      <a:pt x="234250" y="114988"/>
                      <a:pt x="234250" y="114988"/>
                    </a:cubicBezTo>
                    <a:cubicBezTo>
                      <a:pt x="242822" y="105463"/>
                      <a:pt x="244727" y="92128"/>
                      <a:pt x="238060" y="80698"/>
                    </a:cubicBezTo>
                    <a:cubicBezTo>
                      <a:pt x="200912" y="19738"/>
                      <a:pt x="200912" y="19738"/>
                      <a:pt x="200912" y="19738"/>
                    </a:cubicBezTo>
                    <a:cubicBezTo>
                      <a:pt x="196150" y="12118"/>
                      <a:pt x="187577" y="7355"/>
                      <a:pt x="179005" y="7355"/>
                    </a:cubicBezTo>
                    <a:cubicBezTo>
                      <a:pt x="123760" y="7355"/>
                      <a:pt x="123760" y="7355"/>
                      <a:pt x="123760" y="7355"/>
                    </a:cubicBezTo>
                    <a:cubicBezTo>
                      <a:pt x="71372" y="7355"/>
                      <a:pt x="71372" y="7355"/>
                      <a:pt x="71372" y="7355"/>
                    </a:cubicBezTo>
                    <a:cubicBezTo>
                      <a:pt x="61847" y="7355"/>
                      <a:pt x="54227" y="12118"/>
                      <a:pt x="48512" y="19738"/>
                    </a:cubicBezTo>
                    <a:cubicBezTo>
                      <a:pt x="11365" y="80698"/>
                      <a:pt x="11365" y="80698"/>
                      <a:pt x="11365" y="80698"/>
                    </a:cubicBezTo>
                    <a:cubicBezTo>
                      <a:pt x="4697" y="91175"/>
                      <a:pt x="6602" y="105463"/>
                      <a:pt x="15175" y="114988"/>
                    </a:cubicBezTo>
                    <a:cubicBezTo>
                      <a:pt x="37082" y="137848"/>
                      <a:pt x="37082" y="137848"/>
                      <a:pt x="37082" y="137848"/>
                    </a:cubicBez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21" name="Freeform: Shape 420">
                <a:extLst>
                  <a:ext uri="{FF2B5EF4-FFF2-40B4-BE49-F238E27FC236}">
                    <a16:creationId xmlns:a16="http://schemas.microsoft.com/office/drawing/2014/main" id="{338D4E74-C9F4-4036-9855-05FE76A39574}"/>
                  </a:ext>
                </a:extLst>
              </p:cNvPr>
              <p:cNvSpPr/>
              <p:nvPr/>
            </p:nvSpPr>
            <p:spPr>
              <a:xfrm>
                <a:off x="1719889" y="3515739"/>
                <a:ext cx="161929" cy="95253"/>
              </a:xfrm>
              <a:custGeom>
                <a:avLst/>
                <a:gdLst>
                  <a:gd name="connsiteX0" fmla="*/ 150230 w 161925"/>
                  <a:gd name="connsiteY0" fmla="*/ 94985 h 95250"/>
                  <a:gd name="connsiteX1" fmla="*/ 13070 w 161925"/>
                  <a:gd name="connsiteY1" fmla="*/ 94985 h 95250"/>
                  <a:gd name="connsiteX2" fmla="*/ 7355 w 161925"/>
                  <a:gd name="connsiteY2" fmla="*/ 89270 h 95250"/>
                  <a:gd name="connsiteX3" fmla="*/ 7355 w 161925"/>
                  <a:gd name="connsiteY3" fmla="*/ 13070 h 95250"/>
                  <a:gd name="connsiteX4" fmla="*/ 13070 w 161925"/>
                  <a:gd name="connsiteY4" fmla="*/ 7355 h 95250"/>
                  <a:gd name="connsiteX5" fmla="*/ 150230 w 161925"/>
                  <a:gd name="connsiteY5" fmla="*/ 7355 h 95250"/>
                  <a:gd name="connsiteX6" fmla="*/ 155945 w 161925"/>
                  <a:gd name="connsiteY6" fmla="*/ 13070 h 95250"/>
                  <a:gd name="connsiteX7" fmla="*/ 155945 w 161925"/>
                  <a:gd name="connsiteY7" fmla="*/ 89270 h 95250"/>
                  <a:gd name="connsiteX8" fmla="*/ 150230 w 161925"/>
                  <a:gd name="connsiteY8" fmla="*/ 94985 h 95250"/>
                  <a:gd name="connsiteX9" fmla="*/ 150230 w 161925"/>
                  <a:gd name="connsiteY9" fmla="*/ 9498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95250">
                    <a:moveTo>
                      <a:pt x="150230" y="94985"/>
                    </a:moveTo>
                    <a:cubicBezTo>
                      <a:pt x="13070" y="94985"/>
                      <a:pt x="13070" y="94985"/>
                      <a:pt x="13070" y="94985"/>
                    </a:cubicBezTo>
                    <a:cubicBezTo>
                      <a:pt x="10213" y="94985"/>
                      <a:pt x="7355" y="92128"/>
                      <a:pt x="7355" y="89270"/>
                    </a:cubicBezTo>
                    <a:cubicBezTo>
                      <a:pt x="7355" y="13070"/>
                      <a:pt x="7355" y="13070"/>
                      <a:pt x="7355" y="13070"/>
                    </a:cubicBezTo>
                    <a:cubicBezTo>
                      <a:pt x="7355" y="10213"/>
                      <a:pt x="10213" y="7355"/>
                      <a:pt x="13070" y="7355"/>
                    </a:cubicBezTo>
                    <a:cubicBezTo>
                      <a:pt x="150230" y="7355"/>
                      <a:pt x="150230" y="7355"/>
                      <a:pt x="150230" y="7355"/>
                    </a:cubicBezTo>
                    <a:cubicBezTo>
                      <a:pt x="153088" y="7355"/>
                      <a:pt x="155945" y="10213"/>
                      <a:pt x="155945" y="13070"/>
                    </a:cubicBezTo>
                    <a:cubicBezTo>
                      <a:pt x="155945" y="89270"/>
                      <a:pt x="155945" y="89270"/>
                      <a:pt x="155945" y="89270"/>
                    </a:cubicBezTo>
                    <a:cubicBezTo>
                      <a:pt x="155945" y="93080"/>
                      <a:pt x="154040" y="94985"/>
                      <a:pt x="150230" y="94985"/>
                    </a:cubicBezTo>
                    <a:lnTo>
                      <a:pt x="150230" y="94985"/>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22" name="Freeform: Shape 421">
                <a:extLst>
                  <a:ext uri="{FF2B5EF4-FFF2-40B4-BE49-F238E27FC236}">
                    <a16:creationId xmlns:a16="http://schemas.microsoft.com/office/drawing/2014/main" id="{D214EDE0-8EDB-4D8E-83CB-BED175714065}"/>
                  </a:ext>
                </a:extLst>
              </p:cNvPr>
              <p:cNvSpPr/>
              <p:nvPr/>
            </p:nvSpPr>
            <p:spPr>
              <a:xfrm>
                <a:off x="1691313" y="3624327"/>
                <a:ext cx="219081" cy="9525"/>
              </a:xfrm>
              <a:custGeom>
                <a:avLst/>
                <a:gdLst>
                  <a:gd name="connsiteX0" fmla="*/ 7355 w 219075"/>
                  <a:gd name="connsiteY0" fmla="*/ 7355 h 9525"/>
                  <a:gd name="connsiteX1" fmla="*/ 214048 w 219075"/>
                  <a:gd name="connsiteY1" fmla="*/ 7355 h 9525"/>
                </a:gdLst>
                <a:ahLst/>
                <a:cxnLst>
                  <a:cxn ang="0">
                    <a:pos x="connsiteX0" y="connsiteY0"/>
                  </a:cxn>
                  <a:cxn ang="0">
                    <a:pos x="connsiteX1" y="connsiteY1"/>
                  </a:cxn>
                </a:cxnLst>
                <a:rect l="l" t="t" r="r" b="b"/>
                <a:pathLst>
                  <a:path w="219075" h="9525">
                    <a:moveTo>
                      <a:pt x="7355" y="7355"/>
                    </a:moveTo>
                    <a:lnTo>
                      <a:pt x="214048" y="7355"/>
                    </a:ln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23" name="Freeform: Shape 422">
                <a:extLst>
                  <a:ext uri="{FF2B5EF4-FFF2-40B4-BE49-F238E27FC236}">
                    <a16:creationId xmlns:a16="http://schemas.microsoft.com/office/drawing/2014/main" id="{3D4ABABA-9B9E-45F5-B177-664286CC7F0A}"/>
                  </a:ext>
                </a:extLst>
              </p:cNvPr>
              <p:cNvSpPr/>
              <p:nvPr/>
            </p:nvSpPr>
            <p:spPr>
              <a:xfrm>
                <a:off x="1749416" y="3341415"/>
                <a:ext cx="104778" cy="104778"/>
              </a:xfrm>
              <a:custGeom>
                <a:avLst/>
                <a:gdLst>
                  <a:gd name="connsiteX0" fmla="*/ 7355 w 104775"/>
                  <a:gd name="connsiteY0" fmla="*/ 54980 h 104775"/>
                  <a:gd name="connsiteX1" fmla="*/ 53075 w 104775"/>
                  <a:gd name="connsiteY1" fmla="*/ 7355 h 104775"/>
                  <a:gd name="connsiteX2" fmla="*/ 98795 w 104775"/>
                  <a:gd name="connsiteY2" fmla="*/ 54980 h 104775"/>
                  <a:gd name="connsiteX3" fmla="*/ 53075 w 104775"/>
                  <a:gd name="connsiteY3" fmla="*/ 102605 h 104775"/>
                  <a:gd name="connsiteX4" fmla="*/ 7355 w 104775"/>
                  <a:gd name="connsiteY4" fmla="*/ 54980 h 104775"/>
                  <a:gd name="connsiteX5" fmla="*/ 7355 w 104775"/>
                  <a:gd name="connsiteY5" fmla="*/ 5498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7355" y="54980"/>
                    </a:moveTo>
                    <a:cubicBezTo>
                      <a:pt x="7355" y="28310"/>
                      <a:pt x="27358" y="7355"/>
                      <a:pt x="53075" y="7355"/>
                    </a:cubicBezTo>
                    <a:cubicBezTo>
                      <a:pt x="78793" y="7355"/>
                      <a:pt x="98795" y="29263"/>
                      <a:pt x="98795" y="54980"/>
                    </a:cubicBezTo>
                    <a:cubicBezTo>
                      <a:pt x="98795" y="81650"/>
                      <a:pt x="78793" y="102605"/>
                      <a:pt x="53075" y="102605"/>
                    </a:cubicBezTo>
                    <a:cubicBezTo>
                      <a:pt x="27358" y="102605"/>
                      <a:pt x="7355" y="80698"/>
                      <a:pt x="7355" y="54980"/>
                    </a:cubicBezTo>
                    <a:lnTo>
                      <a:pt x="7355" y="54980"/>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24" name="Freeform: Shape 423">
                <a:extLst>
                  <a:ext uri="{FF2B5EF4-FFF2-40B4-BE49-F238E27FC236}">
                    <a16:creationId xmlns:a16="http://schemas.microsoft.com/office/drawing/2014/main" id="{62C504DC-AC83-49D6-9722-CF2D64EFB3E0}"/>
                  </a:ext>
                </a:extLst>
              </p:cNvPr>
              <p:cNvSpPr/>
              <p:nvPr/>
            </p:nvSpPr>
            <p:spPr>
              <a:xfrm>
                <a:off x="1672225" y="3323325"/>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25" name="Freeform: Shape 424">
                <a:extLst>
                  <a:ext uri="{FF2B5EF4-FFF2-40B4-BE49-F238E27FC236}">
                    <a16:creationId xmlns:a16="http://schemas.microsoft.com/office/drawing/2014/main" id="{579C447D-C5FB-49B7-B372-B68D3FEA56E3}"/>
                  </a:ext>
                </a:extLst>
              </p:cNvPr>
              <p:cNvSpPr/>
              <p:nvPr/>
            </p:nvSpPr>
            <p:spPr>
              <a:xfrm>
                <a:off x="1672465" y="3323500"/>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26" name="Freeform: Shape 425">
                <a:extLst>
                  <a:ext uri="{FF2B5EF4-FFF2-40B4-BE49-F238E27FC236}">
                    <a16:creationId xmlns:a16="http://schemas.microsoft.com/office/drawing/2014/main" id="{8698EC9B-2238-45EA-9C04-ADDD79127C12}"/>
                  </a:ext>
                </a:extLst>
              </p:cNvPr>
              <p:cNvSpPr/>
              <p:nvPr/>
            </p:nvSpPr>
            <p:spPr>
              <a:xfrm>
                <a:off x="1672226" y="3323226"/>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grpSp>
        <p:grpSp>
          <p:nvGrpSpPr>
            <p:cNvPr id="380" name="Group 379">
              <a:extLst>
                <a:ext uri="{FF2B5EF4-FFF2-40B4-BE49-F238E27FC236}">
                  <a16:creationId xmlns:a16="http://schemas.microsoft.com/office/drawing/2014/main" id="{68307ACA-8E04-404B-905C-428D7C9BF5CE}"/>
                </a:ext>
              </a:extLst>
            </p:cNvPr>
            <p:cNvGrpSpPr/>
            <p:nvPr/>
          </p:nvGrpSpPr>
          <p:grpSpPr>
            <a:xfrm>
              <a:off x="4918437" y="4812833"/>
              <a:ext cx="334947" cy="412448"/>
              <a:chOff x="1672225" y="3323226"/>
              <a:chExt cx="252256" cy="310626"/>
            </a:xfrm>
            <a:grpFill/>
          </p:grpSpPr>
          <p:sp>
            <p:nvSpPr>
              <p:cNvPr id="413" name="Freeform: Shape 412">
                <a:extLst>
                  <a:ext uri="{FF2B5EF4-FFF2-40B4-BE49-F238E27FC236}">
                    <a16:creationId xmlns:a16="http://schemas.microsoft.com/office/drawing/2014/main" id="{E3A4D99B-C0B1-4260-8762-BEB15E02AA5D}"/>
                  </a:ext>
                </a:extLst>
              </p:cNvPr>
              <p:cNvSpPr/>
              <p:nvPr/>
            </p:nvSpPr>
            <p:spPr>
              <a:xfrm>
                <a:off x="1676825" y="3460493"/>
                <a:ext cx="247656" cy="142880"/>
              </a:xfrm>
              <a:custGeom>
                <a:avLst/>
                <a:gdLst>
                  <a:gd name="connsiteX0" fmla="*/ 212342 w 247650"/>
                  <a:gd name="connsiteY0" fmla="*/ 137848 h 142875"/>
                  <a:gd name="connsiteX1" fmla="*/ 234250 w 247650"/>
                  <a:gd name="connsiteY1" fmla="*/ 114988 h 142875"/>
                  <a:gd name="connsiteX2" fmla="*/ 238060 w 247650"/>
                  <a:gd name="connsiteY2" fmla="*/ 80698 h 142875"/>
                  <a:gd name="connsiteX3" fmla="*/ 200912 w 247650"/>
                  <a:gd name="connsiteY3" fmla="*/ 19738 h 142875"/>
                  <a:gd name="connsiteX4" fmla="*/ 179005 w 247650"/>
                  <a:gd name="connsiteY4" fmla="*/ 7355 h 142875"/>
                  <a:gd name="connsiteX5" fmla="*/ 123760 w 247650"/>
                  <a:gd name="connsiteY5" fmla="*/ 7355 h 142875"/>
                  <a:gd name="connsiteX6" fmla="*/ 71372 w 247650"/>
                  <a:gd name="connsiteY6" fmla="*/ 7355 h 142875"/>
                  <a:gd name="connsiteX7" fmla="*/ 48512 w 247650"/>
                  <a:gd name="connsiteY7" fmla="*/ 19738 h 142875"/>
                  <a:gd name="connsiteX8" fmla="*/ 11365 w 247650"/>
                  <a:gd name="connsiteY8" fmla="*/ 80698 h 142875"/>
                  <a:gd name="connsiteX9" fmla="*/ 15175 w 247650"/>
                  <a:gd name="connsiteY9" fmla="*/ 114988 h 142875"/>
                  <a:gd name="connsiteX10" fmla="*/ 37082 w 247650"/>
                  <a:gd name="connsiteY10" fmla="*/ 13784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142875">
                    <a:moveTo>
                      <a:pt x="212342" y="137848"/>
                    </a:moveTo>
                    <a:cubicBezTo>
                      <a:pt x="234250" y="114988"/>
                      <a:pt x="234250" y="114988"/>
                      <a:pt x="234250" y="114988"/>
                    </a:cubicBezTo>
                    <a:cubicBezTo>
                      <a:pt x="242822" y="105463"/>
                      <a:pt x="244727" y="92128"/>
                      <a:pt x="238060" y="80698"/>
                    </a:cubicBezTo>
                    <a:cubicBezTo>
                      <a:pt x="200912" y="19738"/>
                      <a:pt x="200912" y="19738"/>
                      <a:pt x="200912" y="19738"/>
                    </a:cubicBezTo>
                    <a:cubicBezTo>
                      <a:pt x="196150" y="12118"/>
                      <a:pt x="187577" y="7355"/>
                      <a:pt x="179005" y="7355"/>
                    </a:cubicBezTo>
                    <a:cubicBezTo>
                      <a:pt x="123760" y="7355"/>
                      <a:pt x="123760" y="7355"/>
                      <a:pt x="123760" y="7355"/>
                    </a:cubicBezTo>
                    <a:cubicBezTo>
                      <a:pt x="71372" y="7355"/>
                      <a:pt x="71372" y="7355"/>
                      <a:pt x="71372" y="7355"/>
                    </a:cubicBezTo>
                    <a:cubicBezTo>
                      <a:pt x="61847" y="7355"/>
                      <a:pt x="54227" y="12118"/>
                      <a:pt x="48512" y="19738"/>
                    </a:cubicBezTo>
                    <a:cubicBezTo>
                      <a:pt x="11365" y="80698"/>
                      <a:pt x="11365" y="80698"/>
                      <a:pt x="11365" y="80698"/>
                    </a:cubicBezTo>
                    <a:cubicBezTo>
                      <a:pt x="4697" y="91175"/>
                      <a:pt x="6602" y="105463"/>
                      <a:pt x="15175" y="114988"/>
                    </a:cubicBezTo>
                    <a:cubicBezTo>
                      <a:pt x="37082" y="137848"/>
                      <a:pt x="37082" y="137848"/>
                      <a:pt x="37082" y="137848"/>
                    </a:cubicBez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14" name="Freeform: Shape 413">
                <a:extLst>
                  <a:ext uri="{FF2B5EF4-FFF2-40B4-BE49-F238E27FC236}">
                    <a16:creationId xmlns:a16="http://schemas.microsoft.com/office/drawing/2014/main" id="{7E711F0C-9FCA-4089-9AE0-32740244410D}"/>
                  </a:ext>
                </a:extLst>
              </p:cNvPr>
              <p:cNvSpPr/>
              <p:nvPr/>
            </p:nvSpPr>
            <p:spPr>
              <a:xfrm>
                <a:off x="1719889" y="3515739"/>
                <a:ext cx="161929" cy="95253"/>
              </a:xfrm>
              <a:custGeom>
                <a:avLst/>
                <a:gdLst>
                  <a:gd name="connsiteX0" fmla="*/ 150230 w 161925"/>
                  <a:gd name="connsiteY0" fmla="*/ 94985 h 95250"/>
                  <a:gd name="connsiteX1" fmla="*/ 13070 w 161925"/>
                  <a:gd name="connsiteY1" fmla="*/ 94985 h 95250"/>
                  <a:gd name="connsiteX2" fmla="*/ 7355 w 161925"/>
                  <a:gd name="connsiteY2" fmla="*/ 89270 h 95250"/>
                  <a:gd name="connsiteX3" fmla="*/ 7355 w 161925"/>
                  <a:gd name="connsiteY3" fmla="*/ 13070 h 95250"/>
                  <a:gd name="connsiteX4" fmla="*/ 13070 w 161925"/>
                  <a:gd name="connsiteY4" fmla="*/ 7355 h 95250"/>
                  <a:gd name="connsiteX5" fmla="*/ 150230 w 161925"/>
                  <a:gd name="connsiteY5" fmla="*/ 7355 h 95250"/>
                  <a:gd name="connsiteX6" fmla="*/ 155945 w 161925"/>
                  <a:gd name="connsiteY6" fmla="*/ 13070 h 95250"/>
                  <a:gd name="connsiteX7" fmla="*/ 155945 w 161925"/>
                  <a:gd name="connsiteY7" fmla="*/ 89270 h 95250"/>
                  <a:gd name="connsiteX8" fmla="*/ 150230 w 161925"/>
                  <a:gd name="connsiteY8" fmla="*/ 94985 h 95250"/>
                  <a:gd name="connsiteX9" fmla="*/ 150230 w 161925"/>
                  <a:gd name="connsiteY9" fmla="*/ 9498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95250">
                    <a:moveTo>
                      <a:pt x="150230" y="94985"/>
                    </a:moveTo>
                    <a:cubicBezTo>
                      <a:pt x="13070" y="94985"/>
                      <a:pt x="13070" y="94985"/>
                      <a:pt x="13070" y="94985"/>
                    </a:cubicBezTo>
                    <a:cubicBezTo>
                      <a:pt x="10213" y="94985"/>
                      <a:pt x="7355" y="92128"/>
                      <a:pt x="7355" y="89270"/>
                    </a:cubicBezTo>
                    <a:cubicBezTo>
                      <a:pt x="7355" y="13070"/>
                      <a:pt x="7355" y="13070"/>
                      <a:pt x="7355" y="13070"/>
                    </a:cubicBezTo>
                    <a:cubicBezTo>
                      <a:pt x="7355" y="10213"/>
                      <a:pt x="10213" y="7355"/>
                      <a:pt x="13070" y="7355"/>
                    </a:cubicBezTo>
                    <a:cubicBezTo>
                      <a:pt x="150230" y="7355"/>
                      <a:pt x="150230" y="7355"/>
                      <a:pt x="150230" y="7355"/>
                    </a:cubicBezTo>
                    <a:cubicBezTo>
                      <a:pt x="153088" y="7355"/>
                      <a:pt x="155945" y="10213"/>
                      <a:pt x="155945" y="13070"/>
                    </a:cubicBezTo>
                    <a:cubicBezTo>
                      <a:pt x="155945" y="89270"/>
                      <a:pt x="155945" y="89270"/>
                      <a:pt x="155945" y="89270"/>
                    </a:cubicBezTo>
                    <a:cubicBezTo>
                      <a:pt x="155945" y="93080"/>
                      <a:pt x="154040" y="94985"/>
                      <a:pt x="150230" y="94985"/>
                    </a:cubicBezTo>
                    <a:lnTo>
                      <a:pt x="150230" y="94985"/>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15" name="Freeform: Shape 414">
                <a:extLst>
                  <a:ext uri="{FF2B5EF4-FFF2-40B4-BE49-F238E27FC236}">
                    <a16:creationId xmlns:a16="http://schemas.microsoft.com/office/drawing/2014/main" id="{6FE0B982-0376-423D-B847-56A48DD100EE}"/>
                  </a:ext>
                </a:extLst>
              </p:cNvPr>
              <p:cNvSpPr/>
              <p:nvPr/>
            </p:nvSpPr>
            <p:spPr>
              <a:xfrm>
                <a:off x="1691313" y="3624327"/>
                <a:ext cx="219081" cy="9525"/>
              </a:xfrm>
              <a:custGeom>
                <a:avLst/>
                <a:gdLst>
                  <a:gd name="connsiteX0" fmla="*/ 7355 w 219075"/>
                  <a:gd name="connsiteY0" fmla="*/ 7355 h 9525"/>
                  <a:gd name="connsiteX1" fmla="*/ 214048 w 219075"/>
                  <a:gd name="connsiteY1" fmla="*/ 7355 h 9525"/>
                </a:gdLst>
                <a:ahLst/>
                <a:cxnLst>
                  <a:cxn ang="0">
                    <a:pos x="connsiteX0" y="connsiteY0"/>
                  </a:cxn>
                  <a:cxn ang="0">
                    <a:pos x="connsiteX1" y="connsiteY1"/>
                  </a:cxn>
                </a:cxnLst>
                <a:rect l="l" t="t" r="r" b="b"/>
                <a:pathLst>
                  <a:path w="219075" h="9525">
                    <a:moveTo>
                      <a:pt x="7355" y="7355"/>
                    </a:moveTo>
                    <a:lnTo>
                      <a:pt x="214048" y="7355"/>
                    </a:ln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16" name="Freeform: Shape 415">
                <a:extLst>
                  <a:ext uri="{FF2B5EF4-FFF2-40B4-BE49-F238E27FC236}">
                    <a16:creationId xmlns:a16="http://schemas.microsoft.com/office/drawing/2014/main" id="{6666AB88-F784-4F19-98F1-39B51BFDCF38}"/>
                  </a:ext>
                </a:extLst>
              </p:cNvPr>
              <p:cNvSpPr/>
              <p:nvPr/>
            </p:nvSpPr>
            <p:spPr>
              <a:xfrm>
                <a:off x="1749416" y="3341415"/>
                <a:ext cx="104778" cy="104778"/>
              </a:xfrm>
              <a:custGeom>
                <a:avLst/>
                <a:gdLst>
                  <a:gd name="connsiteX0" fmla="*/ 7355 w 104775"/>
                  <a:gd name="connsiteY0" fmla="*/ 54980 h 104775"/>
                  <a:gd name="connsiteX1" fmla="*/ 53075 w 104775"/>
                  <a:gd name="connsiteY1" fmla="*/ 7355 h 104775"/>
                  <a:gd name="connsiteX2" fmla="*/ 98795 w 104775"/>
                  <a:gd name="connsiteY2" fmla="*/ 54980 h 104775"/>
                  <a:gd name="connsiteX3" fmla="*/ 53075 w 104775"/>
                  <a:gd name="connsiteY3" fmla="*/ 102605 h 104775"/>
                  <a:gd name="connsiteX4" fmla="*/ 7355 w 104775"/>
                  <a:gd name="connsiteY4" fmla="*/ 54980 h 104775"/>
                  <a:gd name="connsiteX5" fmla="*/ 7355 w 104775"/>
                  <a:gd name="connsiteY5" fmla="*/ 5498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7355" y="54980"/>
                    </a:moveTo>
                    <a:cubicBezTo>
                      <a:pt x="7355" y="28310"/>
                      <a:pt x="27358" y="7355"/>
                      <a:pt x="53075" y="7355"/>
                    </a:cubicBezTo>
                    <a:cubicBezTo>
                      <a:pt x="78793" y="7355"/>
                      <a:pt x="98795" y="29263"/>
                      <a:pt x="98795" y="54980"/>
                    </a:cubicBezTo>
                    <a:cubicBezTo>
                      <a:pt x="98795" y="81650"/>
                      <a:pt x="78793" y="102605"/>
                      <a:pt x="53075" y="102605"/>
                    </a:cubicBezTo>
                    <a:cubicBezTo>
                      <a:pt x="27358" y="102605"/>
                      <a:pt x="7355" y="80698"/>
                      <a:pt x="7355" y="54980"/>
                    </a:cubicBezTo>
                    <a:lnTo>
                      <a:pt x="7355" y="54980"/>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17" name="Freeform: Shape 416">
                <a:extLst>
                  <a:ext uri="{FF2B5EF4-FFF2-40B4-BE49-F238E27FC236}">
                    <a16:creationId xmlns:a16="http://schemas.microsoft.com/office/drawing/2014/main" id="{587AE22A-4388-4E24-8A1B-8A5398CEEC83}"/>
                  </a:ext>
                </a:extLst>
              </p:cNvPr>
              <p:cNvSpPr/>
              <p:nvPr/>
            </p:nvSpPr>
            <p:spPr>
              <a:xfrm>
                <a:off x="1672225" y="3323325"/>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18" name="Freeform: Shape 417">
                <a:extLst>
                  <a:ext uri="{FF2B5EF4-FFF2-40B4-BE49-F238E27FC236}">
                    <a16:creationId xmlns:a16="http://schemas.microsoft.com/office/drawing/2014/main" id="{A178ADF1-7586-4119-8452-407F8B517EE9}"/>
                  </a:ext>
                </a:extLst>
              </p:cNvPr>
              <p:cNvSpPr/>
              <p:nvPr/>
            </p:nvSpPr>
            <p:spPr>
              <a:xfrm>
                <a:off x="1672465" y="3323500"/>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19" name="Freeform: Shape 418">
                <a:extLst>
                  <a:ext uri="{FF2B5EF4-FFF2-40B4-BE49-F238E27FC236}">
                    <a16:creationId xmlns:a16="http://schemas.microsoft.com/office/drawing/2014/main" id="{DF5CA68A-CAF1-48F8-A63F-1CC68B6ECB87}"/>
                  </a:ext>
                </a:extLst>
              </p:cNvPr>
              <p:cNvSpPr/>
              <p:nvPr/>
            </p:nvSpPr>
            <p:spPr>
              <a:xfrm>
                <a:off x="1672226" y="3323226"/>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grpSp>
        <p:grpSp>
          <p:nvGrpSpPr>
            <p:cNvPr id="381" name="Group 380">
              <a:extLst>
                <a:ext uri="{FF2B5EF4-FFF2-40B4-BE49-F238E27FC236}">
                  <a16:creationId xmlns:a16="http://schemas.microsoft.com/office/drawing/2014/main" id="{A387FC28-BC44-47E1-A1C0-2DC84EE05594}"/>
                </a:ext>
              </a:extLst>
            </p:cNvPr>
            <p:cNvGrpSpPr/>
            <p:nvPr/>
          </p:nvGrpSpPr>
          <p:grpSpPr>
            <a:xfrm>
              <a:off x="4175060" y="4812833"/>
              <a:ext cx="334947" cy="412448"/>
              <a:chOff x="1672225" y="3323226"/>
              <a:chExt cx="252256" cy="310626"/>
            </a:xfrm>
            <a:grpFill/>
          </p:grpSpPr>
          <p:sp>
            <p:nvSpPr>
              <p:cNvPr id="406" name="Freeform: Shape 405">
                <a:extLst>
                  <a:ext uri="{FF2B5EF4-FFF2-40B4-BE49-F238E27FC236}">
                    <a16:creationId xmlns:a16="http://schemas.microsoft.com/office/drawing/2014/main" id="{271D3E1B-629C-4597-9471-108817B4440D}"/>
                  </a:ext>
                </a:extLst>
              </p:cNvPr>
              <p:cNvSpPr/>
              <p:nvPr/>
            </p:nvSpPr>
            <p:spPr>
              <a:xfrm>
                <a:off x="1676825" y="3460493"/>
                <a:ext cx="247656" cy="142880"/>
              </a:xfrm>
              <a:custGeom>
                <a:avLst/>
                <a:gdLst>
                  <a:gd name="connsiteX0" fmla="*/ 212342 w 247650"/>
                  <a:gd name="connsiteY0" fmla="*/ 137848 h 142875"/>
                  <a:gd name="connsiteX1" fmla="*/ 234250 w 247650"/>
                  <a:gd name="connsiteY1" fmla="*/ 114988 h 142875"/>
                  <a:gd name="connsiteX2" fmla="*/ 238060 w 247650"/>
                  <a:gd name="connsiteY2" fmla="*/ 80698 h 142875"/>
                  <a:gd name="connsiteX3" fmla="*/ 200912 w 247650"/>
                  <a:gd name="connsiteY3" fmla="*/ 19738 h 142875"/>
                  <a:gd name="connsiteX4" fmla="*/ 179005 w 247650"/>
                  <a:gd name="connsiteY4" fmla="*/ 7355 h 142875"/>
                  <a:gd name="connsiteX5" fmla="*/ 123760 w 247650"/>
                  <a:gd name="connsiteY5" fmla="*/ 7355 h 142875"/>
                  <a:gd name="connsiteX6" fmla="*/ 71372 w 247650"/>
                  <a:gd name="connsiteY6" fmla="*/ 7355 h 142875"/>
                  <a:gd name="connsiteX7" fmla="*/ 48512 w 247650"/>
                  <a:gd name="connsiteY7" fmla="*/ 19738 h 142875"/>
                  <a:gd name="connsiteX8" fmla="*/ 11365 w 247650"/>
                  <a:gd name="connsiteY8" fmla="*/ 80698 h 142875"/>
                  <a:gd name="connsiteX9" fmla="*/ 15175 w 247650"/>
                  <a:gd name="connsiteY9" fmla="*/ 114988 h 142875"/>
                  <a:gd name="connsiteX10" fmla="*/ 37082 w 247650"/>
                  <a:gd name="connsiteY10" fmla="*/ 13784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142875">
                    <a:moveTo>
                      <a:pt x="212342" y="137848"/>
                    </a:moveTo>
                    <a:cubicBezTo>
                      <a:pt x="234250" y="114988"/>
                      <a:pt x="234250" y="114988"/>
                      <a:pt x="234250" y="114988"/>
                    </a:cubicBezTo>
                    <a:cubicBezTo>
                      <a:pt x="242822" y="105463"/>
                      <a:pt x="244727" y="92128"/>
                      <a:pt x="238060" y="80698"/>
                    </a:cubicBezTo>
                    <a:cubicBezTo>
                      <a:pt x="200912" y="19738"/>
                      <a:pt x="200912" y="19738"/>
                      <a:pt x="200912" y="19738"/>
                    </a:cubicBezTo>
                    <a:cubicBezTo>
                      <a:pt x="196150" y="12118"/>
                      <a:pt x="187577" y="7355"/>
                      <a:pt x="179005" y="7355"/>
                    </a:cubicBezTo>
                    <a:cubicBezTo>
                      <a:pt x="123760" y="7355"/>
                      <a:pt x="123760" y="7355"/>
                      <a:pt x="123760" y="7355"/>
                    </a:cubicBezTo>
                    <a:cubicBezTo>
                      <a:pt x="71372" y="7355"/>
                      <a:pt x="71372" y="7355"/>
                      <a:pt x="71372" y="7355"/>
                    </a:cubicBezTo>
                    <a:cubicBezTo>
                      <a:pt x="61847" y="7355"/>
                      <a:pt x="54227" y="12118"/>
                      <a:pt x="48512" y="19738"/>
                    </a:cubicBezTo>
                    <a:cubicBezTo>
                      <a:pt x="11365" y="80698"/>
                      <a:pt x="11365" y="80698"/>
                      <a:pt x="11365" y="80698"/>
                    </a:cubicBezTo>
                    <a:cubicBezTo>
                      <a:pt x="4697" y="91175"/>
                      <a:pt x="6602" y="105463"/>
                      <a:pt x="15175" y="114988"/>
                    </a:cubicBezTo>
                    <a:cubicBezTo>
                      <a:pt x="37082" y="137848"/>
                      <a:pt x="37082" y="137848"/>
                      <a:pt x="37082" y="137848"/>
                    </a:cubicBez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07" name="Freeform: Shape 406">
                <a:extLst>
                  <a:ext uri="{FF2B5EF4-FFF2-40B4-BE49-F238E27FC236}">
                    <a16:creationId xmlns:a16="http://schemas.microsoft.com/office/drawing/2014/main" id="{A61CBC2A-AD29-4DBA-BAA5-F174E2B8E7F6}"/>
                  </a:ext>
                </a:extLst>
              </p:cNvPr>
              <p:cNvSpPr/>
              <p:nvPr/>
            </p:nvSpPr>
            <p:spPr>
              <a:xfrm>
                <a:off x="1719889" y="3515739"/>
                <a:ext cx="161929" cy="95253"/>
              </a:xfrm>
              <a:custGeom>
                <a:avLst/>
                <a:gdLst>
                  <a:gd name="connsiteX0" fmla="*/ 150230 w 161925"/>
                  <a:gd name="connsiteY0" fmla="*/ 94985 h 95250"/>
                  <a:gd name="connsiteX1" fmla="*/ 13070 w 161925"/>
                  <a:gd name="connsiteY1" fmla="*/ 94985 h 95250"/>
                  <a:gd name="connsiteX2" fmla="*/ 7355 w 161925"/>
                  <a:gd name="connsiteY2" fmla="*/ 89270 h 95250"/>
                  <a:gd name="connsiteX3" fmla="*/ 7355 w 161925"/>
                  <a:gd name="connsiteY3" fmla="*/ 13070 h 95250"/>
                  <a:gd name="connsiteX4" fmla="*/ 13070 w 161925"/>
                  <a:gd name="connsiteY4" fmla="*/ 7355 h 95250"/>
                  <a:gd name="connsiteX5" fmla="*/ 150230 w 161925"/>
                  <a:gd name="connsiteY5" fmla="*/ 7355 h 95250"/>
                  <a:gd name="connsiteX6" fmla="*/ 155945 w 161925"/>
                  <a:gd name="connsiteY6" fmla="*/ 13070 h 95250"/>
                  <a:gd name="connsiteX7" fmla="*/ 155945 w 161925"/>
                  <a:gd name="connsiteY7" fmla="*/ 89270 h 95250"/>
                  <a:gd name="connsiteX8" fmla="*/ 150230 w 161925"/>
                  <a:gd name="connsiteY8" fmla="*/ 94985 h 95250"/>
                  <a:gd name="connsiteX9" fmla="*/ 150230 w 161925"/>
                  <a:gd name="connsiteY9" fmla="*/ 9498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95250">
                    <a:moveTo>
                      <a:pt x="150230" y="94985"/>
                    </a:moveTo>
                    <a:cubicBezTo>
                      <a:pt x="13070" y="94985"/>
                      <a:pt x="13070" y="94985"/>
                      <a:pt x="13070" y="94985"/>
                    </a:cubicBezTo>
                    <a:cubicBezTo>
                      <a:pt x="10213" y="94985"/>
                      <a:pt x="7355" y="92128"/>
                      <a:pt x="7355" y="89270"/>
                    </a:cubicBezTo>
                    <a:cubicBezTo>
                      <a:pt x="7355" y="13070"/>
                      <a:pt x="7355" y="13070"/>
                      <a:pt x="7355" y="13070"/>
                    </a:cubicBezTo>
                    <a:cubicBezTo>
                      <a:pt x="7355" y="10213"/>
                      <a:pt x="10213" y="7355"/>
                      <a:pt x="13070" y="7355"/>
                    </a:cubicBezTo>
                    <a:cubicBezTo>
                      <a:pt x="150230" y="7355"/>
                      <a:pt x="150230" y="7355"/>
                      <a:pt x="150230" y="7355"/>
                    </a:cubicBezTo>
                    <a:cubicBezTo>
                      <a:pt x="153088" y="7355"/>
                      <a:pt x="155945" y="10213"/>
                      <a:pt x="155945" y="13070"/>
                    </a:cubicBezTo>
                    <a:cubicBezTo>
                      <a:pt x="155945" y="89270"/>
                      <a:pt x="155945" y="89270"/>
                      <a:pt x="155945" y="89270"/>
                    </a:cubicBezTo>
                    <a:cubicBezTo>
                      <a:pt x="155945" y="93080"/>
                      <a:pt x="154040" y="94985"/>
                      <a:pt x="150230" y="94985"/>
                    </a:cubicBezTo>
                    <a:lnTo>
                      <a:pt x="150230" y="94985"/>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08" name="Freeform: Shape 407">
                <a:extLst>
                  <a:ext uri="{FF2B5EF4-FFF2-40B4-BE49-F238E27FC236}">
                    <a16:creationId xmlns:a16="http://schemas.microsoft.com/office/drawing/2014/main" id="{BCB51212-38B4-4E7C-A258-5562578E04A3}"/>
                  </a:ext>
                </a:extLst>
              </p:cNvPr>
              <p:cNvSpPr/>
              <p:nvPr/>
            </p:nvSpPr>
            <p:spPr>
              <a:xfrm>
                <a:off x="1691313" y="3624327"/>
                <a:ext cx="219081" cy="9525"/>
              </a:xfrm>
              <a:custGeom>
                <a:avLst/>
                <a:gdLst>
                  <a:gd name="connsiteX0" fmla="*/ 7355 w 219075"/>
                  <a:gd name="connsiteY0" fmla="*/ 7355 h 9525"/>
                  <a:gd name="connsiteX1" fmla="*/ 214048 w 219075"/>
                  <a:gd name="connsiteY1" fmla="*/ 7355 h 9525"/>
                </a:gdLst>
                <a:ahLst/>
                <a:cxnLst>
                  <a:cxn ang="0">
                    <a:pos x="connsiteX0" y="connsiteY0"/>
                  </a:cxn>
                  <a:cxn ang="0">
                    <a:pos x="connsiteX1" y="connsiteY1"/>
                  </a:cxn>
                </a:cxnLst>
                <a:rect l="l" t="t" r="r" b="b"/>
                <a:pathLst>
                  <a:path w="219075" h="9525">
                    <a:moveTo>
                      <a:pt x="7355" y="7355"/>
                    </a:moveTo>
                    <a:lnTo>
                      <a:pt x="214048" y="7355"/>
                    </a:ln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09" name="Freeform: Shape 408">
                <a:extLst>
                  <a:ext uri="{FF2B5EF4-FFF2-40B4-BE49-F238E27FC236}">
                    <a16:creationId xmlns:a16="http://schemas.microsoft.com/office/drawing/2014/main" id="{6C34E717-75E5-4FE5-A435-EE7D5FA0BFEB}"/>
                  </a:ext>
                </a:extLst>
              </p:cNvPr>
              <p:cNvSpPr/>
              <p:nvPr/>
            </p:nvSpPr>
            <p:spPr>
              <a:xfrm>
                <a:off x="1749416" y="3341415"/>
                <a:ext cx="104778" cy="104778"/>
              </a:xfrm>
              <a:custGeom>
                <a:avLst/>
                <a:gdLst>
                  <a:gd name="connsiteX0" fmla="*/ 7355 w 104775"/>
                  <a:gd name="connsiteY0" fmla="*/ 54980 h 104775"/>
                  <a:gd name="connsiteX1" fmla="*/ 53075 w 104775"/>
                  <a:gd name="connsiteY1" fmla="*/ 7355 h 104775"/>
                  <a:gd name="connsiteX2" fmla="*/ 98795 w 104775"/>
                  <a:gd name="connsiteY2" fmla="*/ 54980 h 104775"/>
                  <a:gd name="connsiteX3" fmla="*/ 53075 w 104775"/>
                  <a:gd name="connsiteY3" fmla="*/ 102605 h 104775"/>
                  <a:gd name="connsiteX4" fmla="*/ 7355 w 104775"/>
                  <a:gd name="connsiteY4" fmla="*/ 54980 h 104775"/>
                  <a:gd name="connsiteX5" fmla="*/ 7355 w 104775"/>
                  <a:gd name="connsiteY5" fmla="*/ 5498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7355" y="54980"/>
                    </a:moveTo>
                    <a:cubicBezTo>
                      <a:pt x="7355" y="28310"/>
                      <a:pt x="27358" y="7355"/>
                      <a:pt x="53075" y="7355"/>
                    </a:cubicBezTo>
                    <a:cubicBezTo>
                      <a:pt x="78793" y="7355"/>
                      <a:pt x="98795" y="29263"/>
                      <a:pt x="98795" y="54980"/>
                    </a:cubicBezTo>
                    <a:cubicBezTo>
                      <a:pt x="98795" y="81650"/>
                      <a:pt x="78793" y="102605"/>
                      <a:pt x="53075" y="102605"/>
                    </a:cubicBezTo>
                    <a:cubicBezTo>
                      <a:pt x="27358" y="102605"/>
                      <a:pt x="7355" y="80698"/>
                      <a:pt x="7355" y="54980"/>
                    </a:cubicBezTo>
                    <a:lnTo>
                      <a:pt x="7355" y="54980"/>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10" name="Freeform: Shape 409">
                <a:extLst>
                  <a:ext uri="{FF2B5EF4-FFF2-40B4-BE49-F238E27FC236}">
                    <a16:creationId xmlns:a16="http://schemas.microsoft.com/office/drawing/2014/main" id="{7D57F2A1-31E7-49C3-925B-833C274877C6}"/>
                  </a:ext>
                </a:extLst>
              </p:cNvPr>
              <p:cNvSpPr/>
              <p:nvPr/>
            </p:nvSpPr>
            <p:spPr>
              <a:xfrm>
                <a:off x="1672225" y="3323325"/>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11" name="Freeform: Shape 410">
                <a:extLst>
                  <a:ext uri="{FF2B5EF4-FFF2-40B4-BE49-F238E27FC236}">
                    <a16:creationId xmlns:a16="http://schemas.microsoft.com/office/drawing/2014/main" id="{8F72CB28-5584-4B54-8CB5-056ED76BD852}"/>
                  </a:ext>
                </a:extLst>
              </p:cNvPr>
              <p:cNvSpPr/>
              <p:nvPr/>
            </p:nvSpPr>
            <p:spPr>
              <a:xfrm>
                <a:off x="1672465" y="3323500"/>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12" name="Freeform: Shape 411">
                <a:extLst>
                  <a:ext uri="{FF2B5EF4-FFF2-40B4-BE49-F238E27FC236}">
                    <a16:creationId xmlns:a16="http://schemas.microsoft.com/office/drawing/2014/main" id="{1C280663-213D-4C4C-A2D7-453C3171DA06}"/>
                  </a:ext>
                </a:extLst>
              </p:cNvPr>
              <p:cNvSpPr/>
              <p:nvPr/>
            </p:nvSpPr>
            <p:spPr>
              <a:xfrm>
                <a:off x="1672226" y="3323226"/>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grpSp>
        <p:grpSp>
          <p:nvGrpSpPr>
            <p:cNvPr id="382" name="Group 381">
              <a:extLst>
                <a:ext uri="{FF2B5EF4-FFF2-40B4-BE49-F238E27FC236}">
                  <a16:creationId xmlns:a16="http://schemas.microsoft.com/office/drawing/2014/main" id="{DBF853ED-6156-4ADA-A659-CFF2EFD5C4A0}"/>
                </a:ext>
              </a:extLst>
            </p:cNvPr>
            <p:cNvGrpSpPr/>
            <p:nvPr/>
          </p:nvGrpSpPr>
          <p:grpSpPr>
            <a:xfrm>
              <a:off x="6405190" y="4812833"/>
              <a:ext cx="334947" cy="412448"/>
              <a:chOff x="1672225" y="3323226"/>
              <a:chExt cx="252256" cy="310626"/>
            </a:xfrm>
            <a:grpFill/>
          </p:grpSpPr>
          <p:sp>
            <p:nvSpPr>
              <p:cNvPr id="399" name="Freeform: Shape 398">
                <a:extLst>
                  <a:ext uri="{FF2B5EF4-FFF2-40B4-BE49-F238E27FC236}">
                    <a16:creationId xmlns:a16="http://schemas.microsoft.com/office/drawing/2014/main" id="{B7D8D1E4-AE50-4644-9768-EDB764A9B75B}"/>
                  </a:ext>
                </a:extLst>
              </p:cNvPr>
              <p:cNvSpPr/>
              <p:nvPr/>
            </p:nvSpPr>
            <p:spPr>
              <a:xfrm>
                <a:off x="1676825" y="3460493"/>
                <a:ext cx="247656" cy="142880"/>
              </a:xfrm>
              <a:custGeom>
                <a:avLst/>
                <a:gdLst>
                  <a:gd name="connsiteX0" fmla="*/ 212342 w 247650"/>
                  <a:gd name="connsiteY0" fmla="*/ 137848 h 142875"/>
                  <a:gd name="connsiteX1" fmla="*/ 234250 w 247650"/>
                  <a:gd name="connsiteY1" fmla="*/ 114988 h 142875"/>
                  <a:gd name="connsiteX2" fmla="*/ 238060 w 247650"/>
                  <a:gd name="connsiteY2" fmla="*/ 80698 h 142875"/>
                  <a:gd name="connsiteX3" fmla="*/ 200912 w 247650"/>
                  <a:gd name="connsiteY3" fmla="*/ 19738 h 142875"/>
                  <a:gd name="connsiteX4" fmla="*/ 179005 w 247650"/>
                  <a:gd name="connsiteY4" fmla="*/ 7355 h 142875"/>
                  <a:gd name="connsiteX5" fmla="*/ 123760 w 247650"/>
                  <a:gd name="connsiteY5" fmla="*/ 7355 h 142875"/>
                  <a:gd name="connsiteX6" fmla="*/ 71372 w 247650"/>
                  <a:gd name="connsiteY6" fmla="*/ 7355 h 142875"/>
                  <a:gd name="connsiteX7" fmla="*/ 48512 w 247650"/>
                  <a:gd name="connsiteY7" fmla="*/ 19738 h 142875"/>
                  <a:gd name="connsiteX8" fmla="*/ 11365 w 247650"/>
                  <a:gd name="connsiteY8" fmla="*/ 80698 h 142875"/>
                  <a:gd name="connsiteX9" fmla="*/ 15175 w 247650"/>
                  <a:gd name="connsiteY9" fmla="*/ 114988 h 142875"/>
                  <a:gd name="connsiteX10" fmla="*/ 37082 w 247650"/>
                  <a:gd name="connsiteY10" fmla="*/ 13784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142875">
                    <a:moveTo>
                      <a:pt x="212342" y="137848"/>
                    </a:moveTo>
                    <a:cubicBezTo>
                      <a:pt x="234250" y="114988"/>
                      <a:pt x="234250" y="114988"/>
                      <a:pt x="234250" y="114988"/>
                    </a:cubicBezTo>
                    <a:cubicBezTo>
                      <a:pt x="242822" y="105463"/>
                      <a:pt x="244727" y="92128"/>
                      <a:pt x="238060" y="80698"/>
                    </a:cubicBezTo>
                    <a:cubicBezTo>
                      <a:pt x="200912" y="19738"/>
                      <a:pt x="200912" y="19738"/>
                      <a:pt x="200912" y="19738"/>
                    </a:cubicBezTo>
                    <a:cubicBezTo>
                      <a:pt x="196150" y="12118"/>
                      <a:pt x="187577" y="7355"/>
                      <a:pt x="179005" y="7355"/>
                    </a:cubicBezTo>
                    <a:cubicBezTo>
                      <a:pt x="123760" y="7355"/>
                      <a:pt x="123760" y="7355"/>
                      <a:pt x="123760" y="7355"/>
                    </a:cubicBezTo>
                    <a:cubicBezTo>
                      <a:pt x="71372" y="7355"/>
                      <a:pt x="71372" y="7355"/>
                      <a:pt x="71372" y="7355"/>
                    </a:cubicBezTo>
                    <a:cubicBezTo>
                      <a:pt x="61847" y="7355"/>
                      <a:pt x="54227" y="12118"/>
                      <a:pt x="48512" y="19738"/>
                    </a:cubicBezTo>
                    <a:cubicBezTo>
                      <a:pt x="11365" y="80698"/>
                      <a:pt x="11365" y="80698"/>
                      <a:pt x="11365" y="80698"/>
                    </a:cubicBezTo>
                    <a:cubicBezTo>
                      <a:pt x="4697" y="91175"/>
                      <a:pt x="6602" y="105463"/>
                      <a:pt x="15175" y="114988"/>
                    </a:cubicBezTo>
                    <a:cubicBezTo>
                      <a:pt x="37082" y="137848"/>
                      <a:pt x="37082" y="137848"/>
                      <a:pt x="37082" y="137848"/>
                    </a:cubicBez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00" name="Freeform: Shape 399">
                <a:extLst>
                  <a:ext uri="{FF2B5EF4-FFF2-40B4-BE49-F238E27FC236}">
                    <a16:creationId xmlns:a16="http://schemas.microsoft.com/office/drawing/2014/main" id="{E4D41F26-BD79-4642-B8DA-C7F83F1DDC6F}"/>
                  </a:ext>
                </a:extLst>
              </p:cNvPr>
              <p:cNvSpPr/>
              <p:nvPr/>
            </p:nvSpPr>
            <p:spPr>
              <a:xfrm>
                <a:off x="1719889" y="3515739"/>
                <a:ext cx="161929" cy="95253"/>
              </a:xfrm>
              <a:custGeom>
                <a:avLst/>
                <a:gdLst>
                  <a:gd name="connsiteX0" fmla="*/ 150230 w 161925"/>
                  <a:gd name="connsiteY0" fmla="*/ 94985 h 95250"/>
                  <a:gd name="connsiteX1" fmla="*/ 13070 w 161925"/>
                  <a:gd name="connsiteY1" fmla="*/ 94985 h 95250"/>
                  <a:gd name="connsiteX2" fmla="*/ 7355 w 161925"/>
                  <a:gd name="connsiteY2" fmla="*/ 89270 h 95250"/>
                  <a:gd name="connsiteX3" fmla="*/ 7355 w 161925"/>
                  <a:gd name="connsiteY3" fmla="*/ 13070 h 95250"/>
                  <a:gd name="connsiteX4" fmla="*/ 13070 w 161925"/>
                  <a:gd name="connsiteY4" fmla="*/ 7355 h 95250"/>
                  <a:gd name="connsiteX5" fmla="*/ 150230 w 161925"/>
                  <a:gd name="connsiteY5" fmla="*/ 7355 h 95250"/>
                  <a:gd name="connsiteX6" fmla="*/ 155945 w 161925"/>
                  <a:gd name="connsiteY6" fmla="*/ 13070 h 95250"/>
                  <a:gd name="connsiteX7" fmla="*/ 155945 w 161925"/>
                  <a:gd name="connsiteY7" fmla="*/ 89270 h 95250"/>
                  <a:gd name="connsiteX8" fmla="*/ 150230 w 161925"/>
                  <a:gd name="connsiteY8" fmla="*/ 94985 h 95250"/>
                  <a:gd name="connsiteX9" fmla="*/ 150230 w 161925"/>
                  <a:gd name="connsiteY9" fmla="*/ 9498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95250">
                    <a:moveTo>
                      <a:pt x="150230" y="94985"/>
                    </a:moveTo>
                    <a:cubicBezTo>
                      <a:pt x="13070" y="94985"/>
                      <a:pt x="13070" y="94985"/>
                      <a:pt x="13070" y="94985"/>
                    </a:cubicBezTo>
                    <a:cubicBezTo>
                      <a:pt x="10213" y="94985"/>
                      <a:pt x="7355" y="92128"/>
                      <a:pt x="7355" y="89270"/>
                    </a:cubicBezTo>
                    <a:cubicBezTo>
                      <a:pt x="7355" y="13070"/>
                      <a:pt x="7355" y="13070"/>
                      <a:pt x="7355" y="13070"/>
                    </a:cubicBezTo>
                    <a:cubicBezTo>
                      <a:pt x="7355" y="10213"/>
                      <a:pt x="10213" y="7355"/>
                      <a:pt x="13070" y="7355"/>
                    </a:cubicBezTo>
                    <a:cubicBezTo>
                      <a:pt x="150230" y="7355"/>
                      <a:pt x="150230" y="7355"/>
                      <a:pt x="150230" y="7355"/>
                    </a:cubicBezTo>
                    <a:cubicBezTo>
                      <a:pt x="153088" y="7355"/>
                      <a:pt x="155945" y="10213"/>
                      <a:pt x="155945" y="13070"/>
                    </a:cubicBezTo>
                    <a:cubicBezTo>
                      <a:pt x="155945" y="89270"/>
                      <a:pt x="155945" y="89270"/>
                      <a:pt x="155945" y="89270"/>
                    </a:cubicBezTo>
                    <a:cubicBezTo>
                      <a:pt x="155945" y="93080"/>
                      <a:pt x="154040" y="94985"/>
                      <a:pt x="150230" y="94985"/>
                    </a:cubicBezTo>
                    <a:lnTo>
                      <a:pt x="150230" y="94985"/>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01" name="Freeform: Shape 400">
                <a:extLst>
                  <a:ext uri="{FF2B5EF4-FFF2-40B4-BE49-F238E27FC236}">
                    <a16:creationId xmlns:a16="http://schemas.microsoft.com/office/drawing/2014/main" id="{1740FF43-85F1-4589-A073-5DDD26CF17AF}"/>
                  </a:ext>
                </a:extLst>
              </p:cNvPr>
              <p:cNvSpPr/>
              <p:nvPr/>
            </p:nvSpPr>
            <p:spPr>
              <a:xfrm>
                <a:off x="1691313" y="3624327"/>
                <a:ext cx="219081" cy="9525"/>
              </a:xfrm>
              <a:custGeom>
                <a:avLst/>
                <a:gdLst>
                  <a:gd name="connsiteX0" fmla="*/ 7355 w 219075"/>
                  <a:gd name="connsiteY0" fmla="*/ 7355 h 9525"/>
                  <a:gd name="connsiteX1" fmla="*/ 214048 w 219075"/>
                  <a:gd name="connsiteY1" fmla="*/ 7355 h 9525"/>
                </a:gdLst>
                <a:ahLst/>
                <a:cxnLst>
                  <a:cxn ang="0">
                    <a:pos x="connsiteX0" y="connsiteY0"/>
                  </a:cxn>
                  <a:cxn ang="0">
                    <a:pos x="connsiteX1" y="connsiteY1"/>
                  </a:cxn>
                </a:cxnLst>
                <a:rect l="l" t="t" r="r" b="b"/>
                <a:pathLst>
                  <a:path w="219075" h="9525">
                    <a:moveTo>
                      <a:pt x="7355" y="7355"/>
                    </a:moveTo>
                    <a:lnTo>
                      <a:pt x="214048" y="7355"/>
                    </a:ln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02" name="Freeform: Shape 401">
                <a:extLst>
                  <a:ext uri="{FF2B5EF4-FFF2-40B4-BE49-F238E27FC236}">
                    <a16:creationId xmlns:a16="http://schemas.microsoft.com/office/drawing/2014/main" id="{A9F8A9C7-1737-4277-8DAD-753D05C140B0}"/>
                  </a:ext>
                </a:extLst>
              </p:cNvPr>
              <p:cNvSpPr/>
              <p:nvPr/>
            </p:nvSpPr>
            <p:spPr>
              <a:xfrm>
                <a:off x="1749416" y="3341415"/>
                <a:ext cx="104778" cy="104778"/>
              </a:xfrm>
              <a:custGeom>
                <a:avLst/>
                <a:gdLst>
                  <a:gd name="connsiteX0" fmla="*/ 7355 w 104775"/>
                  <a:gd name="connsiteY0" fmla="*/ 54980 h 104775"/>
                  <a:gd name="connsiteX1" fmla="*/ 53075 w 104775"/>
                  <a:gd name="connsiteY1" fmla="*/ 7355 h 104775"/>
                  <a:gd name="connsiteX2" fmla="*/ 98795 w 104775"/>
                  <a:gd name="connsiteY2" fmla="*/ 54980 h 104775"/>
                  <a:gd name="connsiteX3" fmla="*/ 53075 w 104775"/>
                  <a:gd name="connsiteY3" fmla="*/ 102605 h 104775"/>
                  <a:gd name="connsiteX4" fmla="*/ 7355 w 104775"/>
                  <a:gd name="connsiteY4" fmla="*/ 54980 h 104775"/>
                  <a:gd name="connsiteX5" fmla="*/ 7355 w 104775"/>
                  <a:gd name="connsiteY5" fmla="*/ 5498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7355" y="54980"/>
                    </a:moveTo>
                    <a:cubicBezTo>
                      <a:pt x="7355" y="28310"/>
                      <a:pt x="27358" y="7355"/>
                      <a:pt x="53075" y="7355"/>
                    </a:cubicBezTo>
                    <a:cubicBezTo>
                      <a:pt x="78793" y="7355"/>
                      <a:pt x="98795" y="29263"/>
                      <a:pt x="98795" y="54980"/>
                    </a:cubicBezTo>
                    <a:cubicBezTo>
                      <a:pt x="98795" y="81650"/>
                      <a:pt x="78793" y="102605"/>
                      <a:pt x="53075" y="102605"/>
                    </a:cubicBezTo>
                    <a:cubicBezTo>
                      <a:pt x="27358" y="102605"/>
                      <a:pt x="7355" y="80698"/>
                      <a:pt x="7355" y="54980"/>
                    </a:cubicBezTo>
                    <a:lnTo>
                      <a:pt x="7355" y="54980"/>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03" name="Freeform: Shape 402">
                <a:extLst>
                  <a:ext uri="{FF2B5EF4-FFF2-40B4-BE49-F238E27FC236}">
                    <a16:creationId xmlns:a16="http://schemas.microsoft.com/office/drawing/2014/main" id="{82E9C625-0A56-4F5D-989E-1EA2BEB4D85D}"/>
                  </a:ext>
                </a:extLst>
              </p:cNvPr>
              <p:cNvSpPr/>
              <p:nvPr/>
            </p:nvSpPr>
            <p:spPr>
              <a:xfrm>
                <a:off x="1672225" y="3323325"/>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04" name="Freeform: Shape 403">
                <a:extLst>
                  <a:ext uri="{FF2B5EF4-FFF2-40B4-BE49-F238E27FC236}">
                    <a16:creationId xmlns:a16="http://schemas.microsoft.com/office/drawing/2014/main" id="{E5CDAB17-0CA4-4971-81D5-7818DC307E09}"/>
                  </a:ext>
                </a:extLst>
              </p:cNvPr>
              <p:cNvSpPr/>
              <p:nvPr/>
            </p:nvSpPr>
            <p:spPr>
              <a:xfrm>
                <a:off x="1672465" y="3323500"/>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405" name="Freeform: Shape 404">
                <a:extLst>
                  <a:ext uri="{FF2B5EF4-FFF2-40B4-BE49-F238E27FC236}">
                    <a16:creationId xmlns:a16="http://schemas.microsoft.com/office/drawing/2014/main" id="{1E276D51-E7E7-46E4-BA69-4FE14EB26538}"/>
                  </a:ext>
                </a:extLst>
              </p:cNvPr>
              <p:cNvSpPr/>
              <p:nvPr/>
            </p:nvSpPr>
            <p:spPr>
              <a:xfrm>
                <a:off x="1672226" y="3323226"/>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grpSp>
        <p:grpSp>
          <p:nvGrpSpPr>
            <p:cNvPr id="383" name="Group 382">
              <a:extLst>
                <a:ext uri="{FF2B5EF4-FFF2-40B4-BE49-F238E27FC236}">
                  <a16:creationId xmlns:a16="http://schemas.microsoft.com/office/drawing/2014/main" id="{738C1105-702A-447A-AC00-BC9D26DC3255}"/>
                </a:ext>
              </a:extLst>
            </p:cNvPr>
            <p:cNvGrpSpPr/>
            <p:nvPr/>
          </p:nvGrpSpPr>
          <p:grpSpPr>
            <a:xfrm>
              <a:off x="7148566" y="4812833"/>
              <a:ext cx="334947" cy="412448"/>
              <a:chOff x="1672225" y="3323226"/>
              <a:chExt cx="252256" cy="310626"/>
            </a:xfrm>
            <a:grpFill/>
          </p:grpSpPr>
          <p:sp>
            <p:nvSpPr>
              <p:cNvPr id="392" name="Freeform: Shape 391">
                <a:extLst>
                  <a:ext uri="{FF2B5EF4-FFF2-40B4-BE49-F238E27FC236}">
                    <a16:creationId xmlns:a16="http://schemas.microsoft.com/office/drawing/2014/main" id="{F613C226-9AD2-4C98-8E48-8CE14CC60EB9}"/>
                  </a:ext>
                </a:extLst>
              </p:cNvPr>
              <p:cNvSpPr/>
              <p:nvPr/>
            </p:nvSpPr>
            <p:spPr>
              <a:xfrm>
                <a:off x="1676825" y="3460493"/>
                <a:ext cx="247656" cy="142880"/>
              </a:xfrm>
              <a:custGeom>
                <a:avLst/>
                <a:gdLst>
                  <a:gd name="connsiteX0" fmla="*/ 212342 w 247650"/>
                  <a:gd name="connsiteY0" fmla="*/ 137848 h 142875"/>
                  <a:gd name="connsiteX1" fmla="*/ 234250 w 247650"/>
                  <a:gd name="connsiteY1" fmla="*/ 114988 h 142875"/>
                  <a:gd name="connsiteX2" fmla="*/ 238060 w 247650"/>
                  <a:gd name="connsiteY2" fmla="*/ 80698 h 142875"/>
                  <a:gd name="connsiteX3" fmla="*/ 200912 w 247650"/>
                  <a:gd name="connsiteY3" fmla="*/ 19738 h 142875"/>
                  <a:gd name="connsiteX4" fmla="*/ 179005 w 247650"/>
                  <a:gd name="connsiteY4" fmla="*/ 7355 h 142875"/>
                  <a:gd name="connsiteX5" fmla="*/ 123760 w 247650"/>
                  <a:gd name="connsiteY5" fmla="*/ 7355 h 142875"/>
                  <a:gd name="connsiteX6" fmla="*/ 71372 w 247650"/>
                  <a:gd name="connsiteY6" fmla="*/ 7355 h 142875"/>
                  <a:gd name="connsiteX7" fmla="*/ 48512 w 247650"/>
                  <a:gd name="connsiteY7" fmla="*/ 19738 h 142875"/>
                  <a:gd name="connsiteX8" fmla="*/ 11365 w 247650"/>
                  <a:gd name="connsiteY8" fmla="*/ 80698 h 142875"/>
                  <a:gd name="connsiteX9" fmla="*/ 15175 w 247650"/>
                  <a:gd name="connsiteY9" fmla="*/ 114988 h 142875"/>
                  <a:gd name="connsiteX10" fmla="*/ 37082 w 247650"/>
                  <a:gd name="connsiteY10" fmla="*/ 13784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142875">
                    <a:moveTo>
                      <a:pt x="212342" y="137848"/>
                    </a:moveTo>
                    <a:cubicBezTo>
                      <a:pt x="234250" y="114988"/>
                      <a:pt x="234250" y="114988"/>
                      <a:pt x="234250" y="114988"/>
                    </a:cubicBezTo>
                    <a:cubicBezTo>
                      <a:pt x="242822" y="105463"/>
                      <a:pt x="244727" y="92128"/>
                      <a:pt x="238060" y="80698"/>
                    </a:cubicBezTo>
                    <a:cubicBezTo>
                      <a:pt x="200912" y="19738"/>
                      <a:pt x="200912" y="19738"/>
                      <a:pt x="200912" y="19738"/>
                    </a:cubicBezTo>
                    <a:cubicBezTo>
                      <a:pt x="196150" y="12118"/>
                      <a:pt x="187577" y="7355"/>
                      <a:pt x="179005" y="7355"/>
                    </a:cubicBezTo>
                    <a:cubicBezTo>
                      <a:pt x="123760" y="7355"/>
                      <a:pt x="123760" y="7355"/>
                      <a:pt x="123760" y="7355"/>
                    </a:cubicBezTo>
                    <a:cubicBezTo>
                      <a:pt x="71372" y="7355"/>
                      <a:pt x="71372" y="7355"/>
                      <a:pt x="71372" y="7355"/>
                    </a:cubicBezTo>
                    <a:cubicBezTo>
                      <a:pt x="61847" y="7355"/>
                      <a:pt x="54227" y="12118"/>
                      <a:pt x="48512" y="19738"/>
                    </a:cubicBezTo>
                    <a:cubicBezTo>
                      <a:pt x="11365" y="80698"/>
                      <a:pt x="11365" y="80698"/>
                      <a:pt x="11365" y="80698"/>
                    </a:cubicBezTo>
                    <a:cubicBezTo>
                      <a:pt x="4697" y="91175"/>
                      <a:pt x="6602" y="105463"/>
                      <a:pt x="15175" y="114988"/>
                    </a:cubicBezTo>
                    <a:cubicBezTo>
                      <a:pt x="37082" y="137848"/>
                      <a:pt x="37082" y="137848"/>
                      <a:pt x="37082" y="137848"/>
                    </a:cubicBez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393" name="Freeform: Shape 392">
                <a:extLst>
                  <a:ext uri="{FF2B5EF4-FFF2-40B4-BE49-F238E27FC236}">
                    <a16:creationId xmlns:a16="http://schemas.microsoft.com/office/drawing/2014/main" id="{FF8D4A70-AB45-4401-AD50-F528BAE43356}"/>
                  </a:ext>
                </a:extLst>
              </p:cNvPr>
              <p:cNvSpPr/>
              <p:nvPr/>
            </p:nvSpPr>
            <p:spPr>
              <a:xfrm>
                <a:off x="1719889" y="3515739"/>
                <a:ext cx="161929" cy="95253"/>
              </a:xfrm>
              <a:custGeom>
                <a:avLst/>
                <a:gdLst>
                  <a:gd name="connsiteX0" fmla="*/ 150230 w 161925"/>
                  <a:gd name="connsiteY0" fmla="*/ 94985 h 95250"/>
                  <a:gd name="connsiteX1" fmla="*/ 13070 w 161925"/>
                  <a:gd name="connsiteY1" fmla="*/ 94985 h 95250"/>
                  <a:gd name="connsiteX2" fmla="*/ 7355 w 161925"/>
                  <a:gd name="connsiteY2" fmla="*/ 89270 h 95250"/>
                  <a:gd name="connsiteX3" fmla="*/ 7355 w 161925"/>
                  <a:gd name="connsiteY3" fmla="*/ 13070 h 95250"/>
                  <a:gd name="connsiteX4" fmla="*/ 13070 w 161925"/>
                  <a:gd name="connsiteY4" fmla="*/ 7355 h 95250"/>
                  <a:gd name="connsiteX5" fmla="*/ 150230 w 161925"/>
                  <a:gd name="connsiteY5" fmla="*/ 7355 h 95250"/>
                  <a:gd name="connsiteX6" fmla="*/ 155945 w 161925"/>
                  <a:gd name="connsiteY6" fmla="*/ 13070 h 95250"/>
                  <a:gd name="connsiteX7" fmla="*/ 155945 w 161925"/>
                  <a:gd name="connsiteY7" fmla="*/ 89270 h 95250"/>
                  <a:gd name="connsiteX8" fmla="*/ 150230 w 161925"/>
                  <a:gd name="connsiteY8" fmla="*/ 94985 h 95250"/>
                  <a:gd name="connsiteX9" fmla="*/ 150230 w 161925"/>
                  <a:gd name="connsiteY9" fmla="*/ 9498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95250">
                    <a:moveTo>
                      <a:pt x="150230" y="94985"/>
                    </a:moveTo>
                    <a:cubicBezTo>
                      <a:pt x="13070" y="94985"/>
                      <a:pt x="13070" y="94985"/>
                      <a:pt x="13070" y="94985"/>
                    </a:cubicBezTo>
                    <a:cubicBezTo>
                      <a:pt x="10213" y="94985"/>
                      <a:pt x="7355" y="92128"/>
                      <a:pt x="7355" y="89270"/>
                    </a:cubicBezTo>
                    <a:cubicBezTo>
                      <a:pt x="7355" y="13070"/>
                      <a:pt x="7355" y="13070"/>
                      <a:pt x="7355" y="13070"/>
                    </a:cubicBezTo>
                    <a:cubicBezTo>
                      <a:pt x="7355" y="10213"/>
                      <a:pt x="10213" y="7355"/>
                      <a:pt x="13070" y="7355"/>
                    </a:cubicBezTo>
                    <a:cubicBezTo>
                      <a:pt x="150230" y="7355"/>
                      <a:pt x="150230" y="7355"/>
                      <a:pt x="150230" y="7355"/>
                    </a:cubicBezTo>
                    <a:cubicBezTo>
                      <a:pt x="153088" y="7355"/>
                      <a:pt x="155945" y="10213"/>
                      <a:pt x="155945" y="13070"/>
                    </a:cubicBezTo>
                    <a:cubicBezTo>
                      <a:pt x="155945" y="89270"/>
                      <a:pt x="155945" y="89270"/>
                      <a:pt x="155945" y="89270"/>
                    </a:cubicBezTo>
                    <a:cubicBezTo>
                      <a:pt x="155945" y="93080"/>
                      <a:pt x="154040" y="94985"/>
                      <a:pt x="150230" y="94985"/>
                    </a:cubicBezTo>
                    <a:lnTo>
                      <a:pt x="150230" y="94985"/>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394" name="Freeform: Shape 393">
                <a:extLst>
                  <a:ext uri="{FF2B5EF4-FFF2-40B4-BE49-F238E27FC236}">
                    <a16:creationId xmlns:a16="http://schemas.microsoft.com/office/drawing/2014/main" id="{5087A696-941F-4C3D-995B-6930CE273BEB}"/>
                  </a:ext>
                </a:extLst>
              </p:cNvPr>
              <p:cNvSpPr/>
              <p:nvPr/>
            </p:nvSpPr>
            <p:spPr>
              <a:xfrm>
                <a:off x="1691313" y="3624327"/>
                <a:ext cx="219081" cy="9525"/>
              </a:xfrm>
              <a:custGeom>
                <a:avLst/>
                <a:gdLst>
                  <a:gd name="connsiteX0" fmla="*/ 7355 w 219075"/>
                  <a:gd name="connsiteY0" fmla="*/ 7355 h 9525"/>
                  <a:gd name="connsiteX1" fmla="*/ 214048 w 219075"/>
                  <a:gd name="connsiteY1" fmla="*/ 7355 h 9525"/>
                </a:gdLst>
                <a:ahLst/>
                <a:cxnLst>
                  <a:cxn ang="0">
                    <a:pos x="connsiteX0" y="connsiteY0"/>
                  </a:cxn>
                  <a:cxn ang="0">
                    <a:pos x="connsiteX1" y="connsiteY1"/>
                  </a:cxn>
                </a:cxnLst>
                <a:rect l="l" t="t" r="r" b="b"/>
                <a:pathLst>
                  <a:path w="219075" h="9525">
                    <a:moveTo>
                      <a:pt x="7355" y="7355"/>
                    </a:moveTo>
                    <a:lnTo>
                      <a:pt x="214048" y="7355"/>
                    </a:ln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395" name="Freeform: Shape 394">
                <a:extLst>
                  <a:ext uri="{FF2B5EF4-FFF2-40B4-BE49-F238E27FC236}">
                    <a16:creationId xmlns:a16="http://schemas.microsoft.com/office/drawing/2014/main" id="{7BB7376A-67E3-463F-AD0D-A2E15261B090}"/>
                  </a:ext>
                </a:extLst>
              </p:cNvPr>
              <p:cNvSpPr/>
              <p:nvPr/>
            </p:nvSpPr>
            <p:spPr>
              <a:xfrm>
                <a:off x="1749416" y="3341415"/>
                <a:ext cx="104778" cy="104778"/>
              </a:xfrm>
              <a:custGeom>
                <a:avLst/>
                <a:gdLst>
                  <a:gd name="connsiteX0" fmla="*/ 7355 w 104775"/>
                  <a:gd name="connsiteY0" fmla="*/ 54980 h 104775"/>
                  <a:gd name="connsiteX1" fmla="*/ 53075 w 104775"/>
                  <a:gd name="connsiteY1" fmla="*/ 7355 h 104775"/>
                  <a:gd name="connsiteX2" fmla="*/ 98795 w 104775"/>
                  <a:gd name="connsiteY2" fmla="*/ 54980 h 104775"/>
                  <a:gd name="connsiteX3" fmla="*/ 53075 w 104775"/>
                  <a:gd name="connsiteY3" fmla="*/ 102605 h 104775"/>
                  <a:gd name="connsiteX4" fmla="*/ 7355 w 104775"/>
                  <a:gd name="connsiteY4" fmla="*/ 54980 h 104775"/>
                  <a:gd name="connsiteX5" fmla="*/ 7355 w 104775"/>
                  <a:gd name="connsiteY5" fmla="*/ 5498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7355" y="54980"/>
                    </a:moveTo>
                    <a:cubicBezTo>
                      <a:pt x="7355" y="28310"/>
                      <a:pt x="27358" y="7355"/>
                      <a:pt x="53075" y="7355"/>
                    </a:cubicBezTo>
                    <a:cubicBezTo>
                      <a:pt x="78793" y="7355"/>
                      <a:pt x="98795" y="29263"/>
                      <a:pt x="98795" y="54980"/>
                    </a:cubicBezTo>
                    <a:cubicBezTo>
                      <a:pt x="98795" y="81650"/>
                      <a:pt x="78793" y="102605"/>
                      <a:pt x="53075" y="102605"/>
                    </a:cubicBezTo>
                    <a:cubicBezTo>
                      <a:pt x="27358" y="102605"/>
                      <a:pt x="7355" y="80698"/>
                      <a:pt x="7355" y="54980"/>
                    </a:cubicBezTo>
                    <a:lnTo>
                      <a:pt x="7355" y="54980"/>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396" name="Freeform: Shape 395">
                <a:extLst>
                  <a:ext uri="{FF2B5EF4-FFF2-40B4-BE49-F238E27FC236}">
                    <a16:creationId xmlns:a16="http://schemas.microsoft.com/office/drawing/2014/main" id="{5568A155-9DD8-40BD-8F57-994DDF63CCD6}"/>
                  </a:ext>
                </a:extLst>
              </p:cNvPr>
              <p:cNvSpPr/>
              <p:nvPr/>
            </p:nvSpPr>
            <p:spPr>
              <a:xfrm>
                <a:off x="1672225" y="3323325"/>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397" name="Freeform: Shape 396">
                <a:extLst>
                  <a:ext uri="{FF2B5EF4-FFF2-40B4-BE49-F238E27FC236}">
                    <a16:creationId xmlns:a16="http://schemas.microsoft.com/office/drawing/2014/main" id="{DB49CB0C-C167-479A-BA54-AB279E401E0A}"/>
                  </a:ext>
                </a:extLst>
              </p:cNvPr>
              <p:cNvSpPr/>
              <p:nvPr/>
            </p:nvSpPr>
            <p:spPr>
              <a:xfrm>
                <a:off x="1672465" y="3323500"/>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398" name="Freeform: Shape 397">
                <a:extLst>
                  <a:ext uri="{FF2B5EF4-FFF2-40B4-BE49-F238E27FC236}">
                    <a16:creationId xmlns:a16="http://schemas.microsoft.com/office/drawing/2014/main" id="{9262E720-13BF-40B6-B89C-690AB7CE8C8B}"/>
                  </a:ext>
                </a:extLst>
              </p:cNvPr>
              <p:cNvSpPr/>
              <p:nvPr/>
            </p:nvSpPr>
            <p:spPr>
              <a:xfrm>
                <a:off x="1672226" y="3323226"/>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grpSp>
        <p:grpSp>
          <p:nvGrpSpPr>
            <p:cNvPr id="384" name="Group 383">
              <a:extLst>
                <a:ext uri="{FF2B5EF4-FFF2-40B4-BE49-F238E27FC236}">
                  <a16:creationId xmlns:a16="http://schemas.microsoft.com/office/drawing/2014/main" id="{1D6AA428-C1A4-456F-8973-D0DA825F9F94}"/>
                </a:ext>
              </a:extLst>
            </p:cNvPr>
            <p:cNvGrpSpPr/>
            <p:nvPr/>
          </p:nvGrpSpPr>
          <p:grpSpPr>
            <a:xfrm>
              <a:off x="5661813" y="4167844"/>
              <a:ext cx="334947" cy="412448"/>
              <a:chOff x="1672225" y="3323226"/>
              <a:chExt cx="252256" cy="310626"/>
            </a:xfrm>
            <a:grpFill/>
          </p:grpSpPr>
          <p:sp>
            <p:nvSpPr>
              <p:cNvPr id="385" name="Freeform: Shape 384">
                <a:extLst>
                  <a:ext uri="{FF2B5EF4-FFF2-40B4-BE49-F238E27FC236}">
                    <a16:creationId xmlns:a16="http://schemas.microsoft.com/office/drawing/2014/main" id="{8971EC12-32D1-425D-8112-049AAD19C7C6}"/>
                  </a:ext>
                </a:extLst>
              </p:cNvPr>
              <p:cNvSpPr/>
              <p:nvPr/>
            </p:nvSpPr>
            <p:spPr>
              <a:xfrm>
                <a:off x="1676825" y="3460493"/>
                <a:ext cx="247656" cy="142880"/>
              </a:xfrm>
              <a:custGeom>
                <a:avLst/>
                <a:gdLst>
                  <a:gd name="connsiteX0" fmla="*/ 212342 w 247650"/>
                  <a:gd name="connsiteY0" fmla="*/ 137848 h 142875"/>
                  <a:gd name="connsiteX1" fmla="*/ 234250 w 247650"/>
                  <a:gd name="connsiteY1" fmla="*/ 114988 h 142875"/>
                  <a:gd name="connsiteX2" fmla="*/ 238060 w 247650"/>
                  <a:gd name="connsiteY2" fmla="*/ 80698 h 142875"/>
                  <a:gd name="connsiteX3" fmla="*/ 200912 w 247650"/>
                  <a:gd name="connsiteY3" fmla="*/ 19738 h 142875"/>
                  <a:gd name="connsiteX4" fmla="*/ 179005 w 247650"/>
                  <a:gd name="connsiteY4" fmla="*/ 7355 h 142875"/>
                  <a:gd name="connsiteX5" fmla="*/ 123760 w 247650"/>
                  <a:gd name="connsiteY5" fmla="*/ 7355 h 142875"/>
                  <a:gd name="connsiteX6" fmla="*/ 71372 w 247650"/>
                  <a:gd name="connsiteY6" fmla="*/ 7355 h 142875"/>
                  <a:gd name="connsiteX7" fmla="*/ 48512 w 247650"/>
                  <a:gd name="connsiteY7" fmla="*/ 19738 h 142875"/>
                  <a:gd name="connsiteX8" fmla="*/ 11365 w 247650"/>
                  <a:gd name="connsiteY8" fmla="*/ 80698 h 142875"/>
                  <a:gd name="connsiteX9" fmla="*/ 15175 w 247650"/>
                  <a:gd name="connsiteY9" fmla="*/ 114988 h 142875"/>
                  <a:gd name="connsiteX10" fmla="*/ 37082 w 247650"/>
                  <a:gd name="connsiteY10" fmla="*/ 13784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142875">
                    <a:moveTo>
                      <a:pt x="212342" y="137848"/>
                    </a:moveTo>
                    <a:cubicBezTo>
                      <a:pt x="234250" y="114988"/>
                      <a:pt x="234250" y="114988"/>
                      <a:pt x="234250" y="114988"/>
                    </a:cubicBezTo>
                    <a:cubicBezTo>
                      <a:pt x="242822" y="105463"/>
                      <a:pt x="244727" y="92128"/>
                      <a:pt x="238060" y="80698"/>
                    </a:cubicBezTo>
                    <a:cubicBezTo>
                      <a:pt x="200912" y="19738"/>
                      <a:pt x="200912" y="19738"/>
                      <a:pt x="200912" y="19738"/>
                    </a:cubicBezTo>
                    <a:cubicBezTo>
                      <a:pt x="196150" y="12118"/>
                      <a:pt x="187577" y="7355"/>
                      <a:pt x="179005" y="7355"/>
                    </a:cubicBezTo>
                    <a:cubicBezTo>
                      <a:pt x="123760" y="7355"/>
                      <a:pt x="123760" y="7355"/>
                      <a:pt x="123760" y="7355"/>
                    </a:cubicBezTo>
                    <a:cubicBezTo>
                      <a:pt x="71372" y="7355"/>
                      <a:pt x="71372" y="7355"/>
                      <a:pt x="71372" y="7355"/>
                    </a:cubicBezTo>
                    <a:cubicBezTo>
                      <a:pt x="61847" y="7355"/>
                      <a:pt x="54227" y="12118"/>
                      <a:pt x="48512" y="19738"/>
                    </a:cubicBezTo>
                    <a:cubicBezTo>
                      <a:pt x="11365" y="80698"/>
                      <a:pt x="11365" y="80698"/>
                      <a:pt x="11365" y="80698"/>
                    </a:cubicBezTo>
                    <a:cubicBezTo>
                      <a:pt x="4697" y="91175"/>
                      <a:pt x="6602" y="105463"/>
                      <a:pt x="15175" y="114988"/>
                    </a:cubicBezTo>
                    <a:cubicBezTo>
                      <a:pt x="37082" y="137848"/>
                      <a:pt x="37082" y="137848"/>
                      <a:pt x="37082" y="137848"/>
                    </a:cubicBez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386" name="Freeform: Shape 385">
                <a:extLst>
                  <a:ext uri="{FF2B5EF4-FFF2-40B4-BE49-F238E27FC236}">
                    <a16:creationId xmlns:a16="http://schemas.microsoft.com/office/drawing/2014/main" id="{1CBD5922-3431-4786-B0DD-49585DCD4F21}"/>
                  </a:ext>
                </a:extLst>
              </p:cNvPr>
              <p:cNvSpPr/>
              <p:nvPr/>
            </p:nvSpPr>
            <p:spPr>
              <a:xfrm>
                <a:off x="1719889" y="3515739"/>
                <a:ext cx="161929" cy="95253"/>
              </a:xfrm>
              <a:custGeom>
                <a:avLst/>
                <a:gdLst>
                  <a:gd name="connsiteX0" fmla="*/ 150230 w 161925"/>
                  <a:gd name="connsiteY0" fmla="*/ 94985 h 95250"/>
                  <a:gd name="connsiteX1" fmla="*/ 13070 w 161925"/>
                  <a:gd name="connsiteY1" fmla="*/ 94985 h 95250"/>
                  <a:gd name="connsiteX2" fmla="*/ 7355 w 161925"/>
                  <a:gd name="connsiteY2" fmla="*/ 89270 h 95250"/>
                  <a:gd name="connsiteX3" fmla="*/ 7355 w 161925"/>
                  <a:gd name="connsiteY3" fmla="*/ 13070 h 95250"/>
                  <a:gd name="connsiteX4" fmla="*/ 13070 w 161925"/>
                  <a:gd name="connsiteY4" fmla="*/ 7355 h 95250"/>
                  <a:gd name="connsiteX5" fmla="*/ 150230 w 161925"/>
                  <a:gd name="connsiteY5" fmla="*/ 7355 h 95250"/>
                  <a:gd name="connsiteX6" fmla="*/ 155945 w 161925"/>
                  <a:gd name="connsiteY6" fmla="*/ 13070 h 95250"/>
                  <a:gd name="connsiteX7" fmla="*/ 155945 w 161925"/>
                  <a:gd name="connsiteY7" fmla="*/ 89270 h 95250"/>
                  <a:gd name="connsiteX8" fmla="*/ 150230 w 161925"/>
                  <a:gd name="connsiteY8" fmla="*/ 94985 h 95250"/>
                  <a:gd name="connsiteX9" fmla="*/ 150230 w 161925"/>
                  <a:gd name="connsiteY9" fmla="*/ 9498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95250">
                    <a:moveTo>
                      <a:pt x="150230" y="94985"/>
                    </a:moveTo>
                    <a:cubicBezTo>
                      <a:pt x="13070" y="94985"/>
                      <a:pt x="13070" y="94985"/>
                      <a:pt x="13070" y="94985"/>
                    </a:cubicBezTo>
                    <a:cubicBezTo>
                      <a:pt x="10213" y="94985"/>
                      <a:pt x="7355" y="92128"/>
                      <a:pt x="7355" y="89270"/>
                    </a:cubicBezTo>
                    <a:cubicBezTo>
                      <a:pt x="7355" y="13070"/>
                      <a:pt x="7355" y="13070"/>
                      <a:pt x="7355" y="13070"/>
                    </a:cubicBezTo>
                    <a:cubicBezTo>
                      <a:pt x="7355" y="10213"/>
                      <a:pt x="10213" y="7355"/>
                      <a:pt x="13070" y="7355"/>
                    </a:cubicBezTo>
                    <a:cubicBezTo>
                      <a:pt x="150230" y="7355"/>
                      <a:pt x="150230" y="7355"/>
                      <a:pt x="150230" y="7355"/>
                    </a:cubicBezTo>
                    <a:cubicBezTo>
                      <a:pt x="153088" y="7355"/>
                      <a:pt x="155945" y="10213"/>
                      <a:pt x="155945" y="13070"/>
                    </a:cubicBezTo>
                    <a:cubicBezTo>
                      <a:pt x="155945" y="89270"/>
                      <a:pt x="155945" y="89270"/>
                      <a:pt x="155945" y="89270"/>
                    </a:cubicBezTo>
                    <a:cubicBezTo>
                      <a:pt x="155945" y="93080"/>
                      <a:pt x="154040" y="94985"/>
                      <a:pt x="150230" y="94985"/>
                    </a:cubicBezTo>
                    <a:lnTo>
                      <a:pt x="150230" y="94985"/>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387" name="Freeform: Shape 386">
                <a:extLst>
                  <a:ext uri="{FF2B5EF4-FFF2-40B4-BE49-F238E27FC236}">
                    <a16:creationId xmlns:a16="http://schemas.microsoft.com/office/drawing/2014/main" id="{0C82ADE4-4F31-4389-8030-1BF3AF72A2C0}"/>
                  </a:ext>
                </a:extLst>
              </p:cNvPr>
              <p:cNvSpPr/>
              <p:nvPr/>
            </p:nvSpPr>
            <p:spPr>
              <a:xfrm>
                <a:off x="1691313" y="3624327"/>
                <a:ext cx="219081" cy="9525"/>
              </a:xfrm>
              <a:custGeom>
                <a:avLst/>
                <a:gdLst>
                  <a:gd name="connsiteX0" fmla="*/ 7355 w 219075"/>
                  <a:gd name="connsiteY0" fmla="*/ 7355 h 9525"/>
                  <a:gd name="connsiteX1" fmla="*/ 214048 w 219075"/>
                  <a:gd name="connsiteY1" fmla="*/ 7355 h 9525"/>
                </a:gdLst>
                <a:ahLst/>
                <a:cxnLst>
                  <a:cxn ang="0">
                    <a:pos x="connsiteX0" y="connsiteY0"/>
                  </a:cxn>
                  <a:cxn ang="0">
                    <a:pos x="connsiteX1" y="connsiteY1"/>
                  </a:cxn>
                </a:cxnLst>
                <a:rect l="l" t="t" r="r" b="b"/>
                <a:pathLst>
                  <a:path w="219075" h="9525">
                    <a:moveTo>
                      <a:pt x="7355" y="7355"/>
                    </a:moveTo>
                    <a:lnTo>
                      <a:pt x="214048" y="7355"/>
                    </a:lnTo>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388" name="Freeform: Shape 387">
                <a:extLst>
                  <a:ext uri="{FF2B5EF4-FFF2-40B4-BE49-F238E27FC236}">
                    <a16:creationId xmlns:a16="http://schemas.microsoft.com/office/drawing/2014/main" id="{A2160B17-ECF6-4715-B9B0-6ABCA26B9B3A}"/>
                  </a:ext>
                </a:extLst>
              </p:cNvPr>
              <p:cNvSpPr/>
              <p:nvPr/>
            </p:nvSpPr>
            <p:spPr>
              <a:xfrm>
                <a:off x="1749416" y="3341415"/>
                <a:ext cx="104778" cy="104778"/>
              </a:xfrm>
              <a:custGeom>
                <a:avLst/>
                <a:gdLst>
                  <a:gd name="connsiteX0" fmla="*/ 7355 w 104775"/>
                  <a:gd name="connsiteY0" fmla="*/ 54980 h 104775"/>
                  <a:gd name="connsiteX1" fmla="*/ 53075 w 104775"/>
                  <a:gd name="connsiteY1" fmla="*/ 7355 h 104775"/>
                  <a:gd name="connsiteX2" fmla="*/ 98795 w 104775"/>
                  <a:gd name="connsiteY2" fmla="*/ 54980 h 104775"/>
                  <a:gd name="connsiteX3" fmla="*/ 53075 w 104775"/>
                  <a:gd name="connsiteY3" fmla="*/ 102605 h 104775"/>
                  <a:gd name="connsiteX4" fmla="*/ 7355 w 104775"/>
                  <a:gd name="connsiteY4" fmla="*/ 54980 h 104775"/>
                  <a:gd name="connsiteX5" fmla="*/ 7355 w 104775"/>
                  <a:gd name="connsiteY5" fmla="*/ 5498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7355" y="54980"/>
                    </a:moveTo>
                    <a:cubicBezTo>
                      <a:pt x="7355" y="28310"/>
                      <a:pt x="27358" y="7355"/>
                      <a:pt x="53075" y="7355"/>
                    </a:cubicBezTo>
                    <a:cubicBezTo>
                      <a:pt x="78793" y="7355"/>
                      <a:pt x="98795" y="29263"/>
                      <a:pt x="98795" y="54980"/>
                    </a:cubicBezTo>
                    <a:cubicBezTo>
                      <a:pt x="98795" y="81650"/>
                      <a:pt x="78793" y="102605"/>
                      <a:pt x="53075" y="102605"/>
                    </a:cubicBezTo>
                    <a:cubicBezTo>
                      <a:pt x="27358" y="102605"/>
                      <a:pt x="7355" y="80698"/>
                      <a:pt x="7355" y="54980"/>
                    </a:cubicBezTo>
                    <a:lnTo>
                      <a:pt x="7355" y="54980"/>
                    </a:lnTo>
                    <a:close/>
                  </a:path>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389" name="Freeform: Shape 388">
                <a:extLst>
                  <a:ext uri="{FF2B5EF4-FFF2-40B4-BE49-F238E27FC236}">
                    <a16:creationId xmlns:a16="http://schemas.microsoft.com/office/drawing/2014/main" id="{37A150BD-3073-454D-863D-253AEEA0618A}"/>
                  </a:ext>
                </a:extLst>
              </p:cNvPr>
              <p:cNvSpPr/>
              <p:nvPr/>
            </p:nvSpPr>
            <p:spPr>
              <a:xfrm>
                <a:off x="1672225" y="3323325"/>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390" name="Freeform: Shape 389">
                <a:extLst>
                  <a:ext uri="{FF2B5EF4-FFF2-40B4-BE49-F238E27FC236}">
                    <a16:creationId xmlns:a16="http://schemas.microsoft.com/office/drawing/2014/main" id="{C0A0D7F2-2C3C-4776-876C-14344082782E}"/>
                  </a:ext>
                </a:extLst>
              </p:cNvPr>
              <p:cNvSpPr/>
              <p:nvPr/>
            </p:nvSpPr>
            <p:spPr>
              <a:xfrm>
                <a:off x="1672465" y="3323500"/>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sp>
            <p:nvSpPr>
              <p:cNvPr id="391" name="Freeform: Shape 390">
                <a:extLst>
                  <a:ext uri="{FF2B5EF4-FFF2-40B4-BE49-F238E27FC236}">
                    <a16:creationId xmlns:a16="http://schemas.microsoft.com/office/drawing/2014/main" id="{471992E3-E8EF-49FE-B787-6F97C46EE9DC}"/>
                  </a:ext>
                </a:extLst>
              </p:cNvPr>
              <p:cNvSpPr/>
              <p:nvPr/>
            </p:nvSpPr>
            <p:spPr>
              <a:xfrm>
                <a:off x="1672226" y="3323226"/>
                <a:ext cx="9525" cy="9525"/>
              </a:xfrm>
              <a:custGeom>
                <a:avLst/>
                <a:gdLst/>
                <a:ahLst/>
                <a:cxnLst/>
                <a:rect l="l" t="t" r="r" b="b"/>
                <a:pathLst>
                  <a:path w="9525" h="9525"/>
                </a:pathLst>
              </a:custGeom>
              <a:grpFill/>
              <a:ln w="15875" cap="sq">
                <a:solidFill>
                  <a:srgbClr val="4B53BC"/>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fr-fr" sz="900" dirty="0">
                  <a:solidFill>
                    <a:srgbClr val="4B53BC"/>
                  </a:solidFill>
                  <a:cs typeface="Segoe UI"/>
                </a:endParaRPr>
              </a:p>
            </p:txBody>
          </p:sp>
        </p:grpSp>
      </p:grpSp>
      <p:grpSp>
        <p:nvGrpSpPr>
          <p:cNvPr id="490" name="Group 489">
            <a:extLst>
              <a:ext uri="{FF2B5EF4-FFF2-40B4-BE49-F238E27FC236}">
                <a16:creationId xmlns:a16="http://schemas.microsoft.com/office/drawing/2014/main" id="{6D309797-B152-4E34-AD18-46D6D1765A95}"/>
              </a:ext>
            </a:extLst>
          </p:cNvPr>
          <p:cNvGrpSpPr/>
          <p:nvPr/>
        </p:nvGrpSpPr>
        <p:grpSpPr>
          <a:xfrm>
            <a:off x="8283582" y="1956167"/>
            <a:ext cx="3144374" cy="2044333"/>
            <a:chOff x="8157478" y="1956167"/>
            <a:chExt cx="3309084" cy="2151420"/>
          </a:xfrm>
        </p:grpSpPr>
        <p:sp>
          <p:nvSpPr>
            <p:cNvPr id="491" name="MeetingPlanner_EBF2" title="Icon of a person in front of a calendar">
              <a:extLst>
                <a:ext uri="{FF2B5EF4-FFF2-40B4-BE49-F238E27FC236}">
                  <a16:creationId xmlns:a16="http://schemas.microsoft.com/office/drawing/2014/main" id="{60797E6A-6E4A-4C08-B679-B65EC3121BAA}"/>
                </a:ext>
              </a:extLst>
            </p:cNvPr>
            <p:cNvSpPr>
              <a:spLocks noChangeAspect="1" noEditPoints="1"/>
            </p:cNvSpPr>
            <p:nvPr/>
          </p:nvSpPr>
          <p:spPr bwMode="auto">
            <a:xfrm>
              <a:off x="8157478" y="1956167"/>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492" name="MeetingPlanner_EBF2" title="Icon of a person in front of a calendar">
              <a:extLst>
                <a:ext uri="{FF2B5EF4-FFF2-40B4-BE49-F238E27FC236}">
                  <a16:creationId xmlns:a16="http://schemas.microsoft.com/office/drawing/2014/main" id="{1867F1C9-C8C7-40FE-8545-83F116D6DACE}"/>
                </a:ext>
              </a:extLst>
            </p:cNvPr>
            <p:cNvSpPr>
              <a:spLocks noChangeAspect="1" noEditPoints="1"/>
            </p:cNvSpPr>
            <p:nvPr/>
          </p:nvSpPr>
          <p:spPr bwMode="auto">
            <a:xfrm>
              <a:off x="8653002" y="1956167"/>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493" name="MeetingPlanner_EBF2" title="Icon of a person in front of a calendar">
              <a:extLst>
                <a:ext uri="{FF2B5EF4-FFF2-40B4-BE49-F238E27FC236}">
                  <a16:creationId xmlns:a16="http://schemas.microsoft.com/office/drawing/2014/main" id="{18D967DA-7CD5-4694-98CF-E9F7AF54F764}"/>
                </a:ext>
              </a:extLst>
            </p:cNvPr>
            <p:cNvSpPr>
              <a:spLocks noChangeAspect="1" noEditPoints="1"/>
            </p:cNvSpPr>
            <p:nvPr/>
          </p:nvSpPr>
          <p:spPr bwMode="auto">
            <a:xfrm>
              <a:off x="9148526" y="1956167"/>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494" name="MeetingPlanner_EBF2" title="Icon of a person in front of a calendar">
              <a:extLst>
                <a:ext uri="{FF2B5EF4-FFF2-40B4-BE49-F238E27FC236}">
                  <a16:creationId xmlns:a16="http://schemas.microsoft.com/office/drawing/2014/main" id="{C38187C0-6122-4982-A59B-A6B0C2DF6CE0}"/>
                </a:ext>
              </a:extLst>
            </p:cNvPr>
            <p:cNvSpPr>
              <a:spLocks noChangeAspect="1" noEditPoints="1"/>
            </p:cNvSpPr>
            <p:nvPr/>
          </p:nvSpPr>
          <p:spPr bwMode="auto">
            <a:xfrm>
              <a:off x="9644049" y="1956167"/>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495" name="MeetingPlanner_EBF2" title="Icon of a person in front of a calendar">
              <a:extLst>
                <a:ext uri="{FF2B5EF4-FFF2-40B4-BE49-F238E27FC236}">
                  <a16:creationId xmlns:a16="http://schemas.microsoft.com/office/drawing/2014/main" id="{3DFA985A-988D-495C-8A2D-2C2C75167901}"/>
                </a:ext>
              </a:extLst>
            </p:cNvPr>
            <p:cNvSpPr>
              <a:spLocks noChangeAspect="1" noEditPoints="1"/>
            </p:cNvSpPr>
            <p:nvPr/>
          </p:nvSpPr>
          <p:spPr bwMode="auto">
            <a:xfrm>
              <a:off x="10139573" y="1956167"/>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496" name="MeetingPlanner_EBF2" title="Icon of a person in front of a calendar">
              <a:extLst>
                <a:ext uri="{FF2B5EF4-FFF2-40B4-BE49-F238E27FC236}">
                  <a16:creationId xmlns:a16="http://schemas.microsoft.com/office/drawing/2014/main" id="{C8C33772-C245-49EA-B217-CBC5999A94B9}"/>
                </a:ext>
              </a:extLst>
            </p:cNvPr>
            <p:cNvSpPr>
              <a:spLocks noChangeAspect="1" noEditPoints="1"/>
            </p:cNvSpPr>
            <p:nvPr/>
          </p:nvSpPr>
          <p:spPr bwMode="auto">
            <a:xfrm>
              <a:off x="10635097" y="1956167"/>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497" name="MeetingPlanner_EBF2" title="Icon of a person in front of a calendar">
              <a:extLst>
                <a:ext uri="{FF2B5EF4-FFF2-40B4-BE49-F238E27FC236}">
                  <a16:creationId xmlns:a16="http://schemas.microsoft.com/office/drawing/2014/main" id="{53FADA4B-D687-4DB4-9494-4406FCC8F69F}"/>
                </a:ext>
              </a:extLst>
            </p:cNvPr>
            <p:cNvSpPr>
              <a:spLocks noChangeAspect="1" noEditPoints="1"/>
            </p:cNvSpPr>
            <p:nvPr/>
          </p:nvSpPr>
          <p:spPr bwMode="auto">
            <a:xfrm>
              <a:off x="11130621" y="1956167"/>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498" name="MeetingPlanner_EBF2" title="Icon of a person in front of a calendar">
              <a:extLst>
                <a:ext uri="{FF2B5EF4-FFF2-40B4-BE49-F238E27FC236}">
                  <a16:creationId xmlns:a16="http://schemas.microsoft.com/office/drawing/2014/main" id="{324B4302-91A4-4DA7-9E15-9B6EE02D5A27}"/>
                </a:ext>
              </a:extLst>
            </p:cNvPr>
            <p:cNvSpPr>
              <a:spLocks noChangeAspect="1" noEditPoints="1"/>
            </p:cNvSpPr>
            <p:nvPr/>
          </p:nvSpPr>
          <p:spPr bwMode="auto">
            <a:xfrm>
              <a:off x="8157478" y="2404379"/>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499" name="MeetingPlanner_EBF2" title="Icon of a person in front of a calendar">
              <a:extLst>
                <a:ext uri="{FF2B5EF4-FFF2-40B4-BE49-F238E27FC236}">
                  <a16:creationId xmlns:a16="http://schemas.microsoft.com/office/drawing/2014/main" id="{C233E9F6-8347-4163-B6EA-9CC32C4778C0}"/>
                </a:ext>
              </a:extLst>
            </p:cNvPr>
            <p:cNvSpPr>
              <a:spLocks noChangeAspect="1" noEditPoints="1"/>
            </p:cNvSpPr>
            <p:nvPr/>
          </p:nvSpPr>
          <p:spPr bwMode="auto">
            <a:xfrm>
              <a:off x="8653002" y="2404379"/>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500" name="MeetingPlanner_EBF2" title="Icon of a person in front of a calendar">
              <a:extLst>
                <a:ext uri="{FF2B5EF4-FFF2-40B4-BE49-F238E27FC236}">
                  <a16:creationId xmlns:a16="http://schemas.microsoft.com/office/drawing/2014/main" id="{C0BE83B6-9933-42AA-8C1C-79CF82526B04}"/>
                </a:ext>
              </a:extLst>
            </p:cNvPr>
            <p:cNvSpPr>
              <a:spLocks noChangeAspect="1" noEditPoints="1"/>
            </p:cNvSpPr>
            <p:nvPr/>
          </p:nvSpPr>
          <p:spPr bwMode="auto">
            <a:xfrm>
              <a:off x="9148526" y="2404379"/>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501" name="MeetingPlanner_EBF2" title="Icon of a person in front of a calendar">
              <a:extLst>
                <a:ext uri="{FF2B5EF4-FFF2-40B4-BE49-F238E27FC236}">
                  <a16:creationId xmlns:a16="http://schemas.microsoft.com/office/drawing/2014/main" id="{5A8FE997-5709-424C-8AD7-750664FE14A3}"/>
                </a:ext>
              </a:extLst>
            </p:cNvPr>
            <p:cNvSpPr>
              <a:spLocks noChangeAspect="1" noEditPoints="1"/>
            </p:cNvSpPr>
            <p:nvPr/>
          </p:nvSpPr>
          <p:spPr bwMode="auto">
            <a:xfrm>
              <a:off x="9644049" y="2404379"/>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502" name="MeetingPlanner_EBF2" title="Icon of a person in front of a calendar">
              <a:extLst>
                <a:ext uri="{FF2B5EF4-FFF2-40B4-BE49-F238E27FC236}">
                  <a16:creationId xmlns:a16="http://schemas.microsoft.com/office/drawing/2014/main" id="{0453557B-5C2C-42EC-85F4-B67765A9486C}"/>
                </a:ext>
              </a:extLst>
            </p:cNvPr>
            <p:cNvSpPr>
              <a:spLocks noChangeAspect="1" noEditPoints="1"/>
            </p:cNvSpPr>
            <p:nvPr/>
          </p:nvSpPr>
          <p:spPr bwMode="auto">
            <a:xfrm>
              <a:off x="10139573" y="2404379"/>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503" name="MeetingPlanner_EBF2" title="Icon of a person in front of a calendar">
              <a:extLst>
                <a:ext uri="{FF2B5EF4-FFF2-40B4-BE49-F238E27FC236}">
                  <a16:creationId xmlns:a16="http://schemas.microsoft.com/office/drawing/2014/main" id="{A12B75BD-EF1B-42AB-A587-D536F58083CC}"/>
                </a:ext>
              </a:extLst>
            </p:cNvPr>
            <p:cNvSpPr>
              <a:spLocks noChangeAspect="1" noEditPoints="1"/>
            </p:cNvSpPr>
            <p:nvPr/>
          </p:nvSpPr>
          <p:spPr bwMode="auto">
            <a:xfrm>
              <a:off x="10635097" y="2404379"/>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504" name="MeetingPlanner_EBF2" title="Icon of a person in front of a calendar">
              <a:extLst>
                <a:ext uri="{FF2B5EF4-FFF2-40B4-BE49-F238E27FC236}">
                  <a16:creationId xmlns:a16="http://schemas.microsoft.com/office/drawing/2014/main" id="{2E2902BC-DDC6-4E2B-8751-6125B575E3BF}"/>
                </a:ext>
              </a:extLst>
            </p:cNvPr>
            <p:cNvSpPr>
              <a:spLocks noChangeAspect="1" noEditPoints="1"/>
            </p:cNvSpPr>
            <p:nvPr/>
          </p:nvSpPr>
          <p:spPr bwMode="auto">
            <a:xfrm>
              <a:off x="11130621" y="2404379"/>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505" name="MeetingPlanner_EBF2" title="Icon of a person in front of a calendar">
              <a:extLst>
                <a:ext uri="{FF2B5EF4-FFF2-40B4-BE49-F238E27FC236}">
                  <a16:creationId xmlns:a16="http://schemas.microsoft.com/office/drawing/2014/main" id="{B0D50BE0-6CB4-4B15-8B42-B040C9C2093B}"/>
                </a:ext>
              </a:extLst>
            </p:cNvPr>
            <p:cNvSpPr>
              <a:spLocks noChangeAspect="1" noEditPoints="1"/>
            </p:cNvSpPr>
            <p:nvPr/>
          </p:nvSpPr>
          <p:spPr bwMode="auto">
            <a:xfrm>
              <a:off x="8157478" y="2852592"/>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506" name="MeetingPlanner_EBF2" title="Icon of a person in front of a calendar">
              <a:extLst>
                <a:ext uri="{FF2B5EF4-FFF2-40B4-BE49-F238E27FC236}">
                  <a16:creationId xmlns:a16="http://schemas.microsoft.com/office/drawing/2014/main" id="{0FDF4185-2A48-47A5-BD34-60E94CF18C46}"/>
                </a:ext>
              </a:extLst>
            </p:cNvPr>
            <p:cNvSpPr>
              <a:spLocks noChangeAspect="1" noEditPoints="1"/>
            </p:cNvSpPr>
            <p:nvPr/>
          </p:nvSpPr>
          <p:spPr bwMode="auto">
            <a:xfrm>
              <a:off x="8653002" y="2852592"/>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507" name="MeetingPlanner_EBF2" title="Icon of a person in front of a calendar">
              <a:extLst>
                <a:ext uri="{FF2B5EF4-FFF2-40B4-BE49-F238E27FC236}">
                  <a16:creationId xmlns:a16="http://schemas.microsoft.com/office/drawing/2014/main" id="{DC6CAFF5-F5C3-4CBE-8C4E-2BA732ADF6DD}"/>
                </a:ext>
              </a:extLst>
            </p:cNvPr>
            <p:cNvSpPr>
              <a:spLocks noChangeAspect="1" noEditPoints="1"/>
            </p:cNvSpPr>
            <p:nvPr/>
          </p:nvSpPr>
          <p:spPr bwMode="auto">
            <a:xfrm>
              <a:off x="9148526" y="2852592"/>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508" name="MeetingPlanner_EBF2" title="Icon of a person in front of a calendar">
              <a:extLst>
                <a:ext uri="{FF2B5EF4-FFF2-40B4-BE49-F238E27FC236}">
                  <a16:creationId xmlns:a16="http://schemas.microsoft.com/office/drawing/2014/main" id="{DA8DC7F4-A662-4F76-8753-0782BE729318}"/>
                </a:ext>
              </a:extLst>
            </p:cNvPr>
            <p:cNvSpPr>
              <a:spLocks noChangeAspect="1" noEditPoints="1"/>
            </p:cNvSpPr>
            <p:nvPr/>
          </p:nvSpPr>
          <p:spPr bwMode="auto">
            <a:xfrm>
              <a:off x="9644049" y="2852592"/>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509" name="MeetingPlanner_EBF2" title="Icon of a person in front of a calendar">
              <a:extLst>
                <a:ext uri="{FF2B5EF4-FFF2-40B4-BE49-F238E27FC236}">
                  <a16:creationId xmlns:a16="http://schemas.microsoft.com/office/drawing/2014/main" id="{219687D8-C83A-435D-A775-802E99C1CEA3}"/>
                </a:ext>
              </a:extLst>
            </p:cNvPr>
            <p:cNvSpPr>
              <a:spLocks noChangeAspect="1" noEditPoints="1"/>
            </p:cNvSpPr>
            <p:nvPr/>
          </p:nvSpPr>
          <p:spPr bwMode="auto">
            <a:xfrm>
              <a:off x="10139573" y="2852592"/>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510" name="MeetingPlanner_EBF2" title="Icon of a person in front of a calendar">
              <a:extLst>
                <a:ext uri="{FF2B5EF4-FFF2-40B4-BE49-F238E27FC236}">
                  <a16:creationId xmlns:a16="http://schemas.microsoft.com/office/drawing/2014/main" id="{2F8681A8-AF95-4354-A228-E1BF99315D79}"/>
                </a:ext>
              </a:extLst>
            </p:cNvPr>
            <p:cNvSpPr>
              <a:spLocks noChangeAspect="1" noEditPoints="1"/>
            </p:cNvSpPr>
            <p:nvPr/>
          </p:nvSpPr>
          <p:spPr bwMode="auto">
            <a:xfrm>
              <a:off x="10635097" y="2852592"/>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511" name="MeetingPlanner_EBF2" title="Icon of a person in front of a calendar">
              <a:extLst>
                <a:ext uri="{FF2B5EF4-FFF2-40B4-BE49-F238E27FC236}">
                  <a16:creationId xmlns:a16="http://schemas.microsoft.com/office/drawing/2014/main" id="{855D32F4-CF28-4642-BFA9-5859E3A6C0C5}"/>
                </a:ext>
              </a:extLst>
            </p:cNvPr>
            <p:cNvSpPr>
              <a:spLocks noChangeAspect="1" noEditPoints="1"/>
            </p:cNvSpPr>
            <p:nvPr/>
          </p:nvSpPr>
          <p:spPr bwMode="auto">
            <a:xfrm>
              <a:off x="11130621" y="2852592"/>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512" name="MeetingPlanner_EBF2" title="Icon of a person in front of a calendar">
              <a:extLst>
                <a:ext uri="{FF2B5EF4-FFF2-40B4-BE49-F238E27FC236}">
                  <a16:creationId xmlns:a16="http://schemas.microsoft.com/office/drawing/2014/main" id="{741FECFE-AC8F-427E-91F8-A0BE2D1E93A6}"/>
                </a:ext>
              </a:extLst>
            </p:cNvPr>
            <p:cNvSpPr>
              <a:spLocks noChangeAspect="1" noEditPoints="1"/>
            </p:cNvSpPr>
            <p:nvPr/>
          </p:nvSpPr>
          <p:spPr bwMode="auto">
            <a:xfrm>
              <a:off x="8157478" y="3300804"/>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513" name="MeetingPlanner_EBF2" title="Icon of a person in front of a calendar">
              <a:extLst>
                <a:ext uri="{FF2B5EF4-FFF2-40B4-BE49-F238E27FC236}">
                  <a16:creationId xmlns:a16="http://schemas.microsoft.com/office/drawing/2014/main" id="{0C836734-FA6D-4E8C-9816-DA4F032638D0}"/>
                </a:ext>
              </a:extLst>
            </p:cNvPr>
            <p:cNvSpPr>
              <a:spLocks noChangeAspect="1" noEditPoints="1"/>
            </p:cNvSpPr>
            <p:nvPr/>
          </p:nvSpPr>
          <p:spPr bwMode="auto">
            <a:xfrm>
              <a:off x="8653002" y="3300804"/>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514" name="MeetingPlanner_EBF2" title="Icon of a person in front of a calendar">
              <a:extLst>
                <a:ext uri="{FF2B5EF4-FFF2-40B4-BE49-F238E27FC236}">
                  <a16:creationId xmlns:a16="http://schemas.microsoft.com/office/drawing/2014/main" id="{809F5FEE-B09F-4824-AC0E-9A3C19A2470D}"/>
                </a:ext>
              </a:extLst>
            </p:cNvPr>
            <p:cNvSpPr>
              <a:spLocks noChangeAspect="1" noEditPoints="1"/>
            </p:cNvSpPr>
            <p:nvPr/>
          </p:nvSpPr>
          <p:spPr bwMode="auto">
            <a:xfrm>
              <a:off x="9148526" y="3300804"/>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515" name="MeetingPlanner_EBF2" title="Icon of a person in front of a calendar">
              <a:extLst>
                <a:ext uri="{FF2B5EF4-FFF2-40B4-BE49-F238E27FC236}">
                  <a16:creationId xmlns:a16="http://schemas.microsoft.com/office/drawing/2014/main" id="{5AF2E1A5-5F16-4E59-A201-FB234BF9C601}"/>
                </a:ext>
              </a:extLst>
            </p:cNvPr>
            <p:cNvSpPr>
              <a:spLocks noChangeAspect="1" noEditPoints="1"/>
            </p:cNvSpPr>
            <p:nvPr/>
          </p:nvSpPr>
          <p:spPr bwMode="auto">
            <a:xfrm>
              <a:off x="9644049" y="3300804"/>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516" name="MeetingPlanner_EBF2" title="Icon of a person in front of a calendar">
              <a:extLst>
                <a:ext uri="{FF2B5EF4-FFF2-40B4-BE49-F238E27FC236}">
                  <a16:creationId xmlns:a16="http://schemas.microsoft.com/office/drawing/2014/main" id="{E599365A-95C3-4EF9-BC83-DFC839D3C0BE}"/>
                </a:ext>
              </a:extLst>
            </p:cNvPr>
            <p:cNvSpPr>
              <a:spLocks noChangeAspect="1" noEditPoints="1"/>
            </p:cNvSpPr>
            <p:nvPr/>
          </p:nvSpPr>
          <p:spPr bwMode="auto">
            <a:xfrm>
              <a:off x="10139573" y="3300804"/>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517" name="MeetingPlanner_EBF2" title="Icon of a person in front of a calendar">
              <a:extLst>
                <a:ext uri="{FF2B5EF4-FFF2-40B4-BE49-F238E27FC236}">
                  <a16:creationId xmlns:a16="http://schemas.microsoft.com/office/drawing/2014/main" id="{3992C220-4606-45A6-BD29-9B2ECB642182}"/>
                </a:ext>
              </a:extLst>
            </p:cNvPr>
            <p:cNvSpPr>
              <a:spLocks noChangeAspect="1" noEditPoints="1"/>
            </p:cNvSpPr>
            <p:nvPr/>
          </p:nvSpPr>
          <p:spPr bwMode="auto">
            <a:xfrm>
              <a:off x="10635097" y="3300804"/>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518" name="MeetingPlanner_EBF2" title="Icon of a person in front of a calendar">
              <a:extLst>
                <a:ext uri="{FF2B5EF4-FFF2-40B4-BE49-F238E27FC236}">
                  <a16:creationId xmlns:a16="http://schemas.microsoft.com/office/drawing/2014/main" id="{FF360362-6471-4943-9F83-C7AC396D5A55}"/>
                </a:ext>
              </a:extLst>
            </p:cNvPr>
            <p:cNvSpPr>
              <a:spLocks noChangeAspect="1" noEditPoints="1"/>
            </p:cNvSpPr>
            <p:nvPr/>
          </p:nvSpPr>
          <p:spPr bwMode="auto">
            <a:xfrm>
              <a:off x="11130621" y="3300804"/>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519" name="MeetingPlanner_EBF2" title="Icon of a person in front of a calendar">
              <a:extLst>
                <a:ext uri="{FF2B5EF4-FFF2-40B4-BE49-F238E27FC236}">
                  <a16:creationId xmlns:a16="http://schemas.microsoft.com/office/drawing/2014/main" id="{D184BEA6-AE4F-4BD2-8DBC-834FCBFB1571}"/>
                </a:ext>
              </a:extLst>
            </p:cNvPr>
            <p:cNvSpPr>
              <a:spLocks noChangeAspect="1" noEditPoints="1"/>
            </p:cNvSpPr>
            <p:nvPr/>
          </p:nvSpPr>
          <p:spPr bwMode="auto">
            <a:xfrm>
              <a:off x="8157478" y="3749017"/>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520" name="MeetingPlanner_EBF2" title="Icon of a person in front of a calendar">
              <a:extLst>
                <a:ext uri="{FF2B5EF4-FFF2-40B4-BE49-F238E27FC236}">
                  <a16:creationId xmlns:a16="http://schemas.microsoft.com/office/drawing/2014/main" id="{6E94F15C-9B20-434F-BA8B-3AE53A6FB189}"/>
                </a:ext>
              </a:extLst>
            </p:cNvPr>
            <p:cNvSpPr>
              <a:spLocks noChangeAspect="1" noEditPoints="1"/>
            </p:cNvSpPr>
            <p:nvPr/>
          </p:nvSpPr>
          <p:spPr bwMode="auto">
            <a:xfrm>
              <a:off x="8653002" y="3749017"/>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521" name="MeetingPlanner_EBF2" title="Icon of a person in front of a calendar">
              <a:extLst>
                <a:ext uri="{FF2B5EF4-FFF2-40B4-BE49-F238E27FC236}">
                  <a16:creationId xmlns:a16="http://schemas.microsoft.com/office/drawing/2014/main" id="{6D240FC1-C827-4E6C-BC12-2EEA4A0FDF61}"/>
                </a:ext>
              </a:extLst>
            </p:cNvPr>
            <p:cNvSpPr>
              <a:spLocks noChangeAspect="1" noEditPoints="1"/>
            </p:cNvSpPr>
            <p:nvPr/>
          </p:nvSpPr>
          <p:spPr bwMode="auto">
            <a:xfrm>
              <a:off x="9148526" y="3749017"/>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sp>
          <p:nvSpPr>
            <p:cNvPr id="522" name="MeetingPlanner_EBF2" title="Icon of a person in front of a calendar">
              <a:extLst>
                <a:ext uri="{FF2B5EF4-FFF2-40B4-BE49-F238E27FC236}">
                  <a16:creationId xmlns:a16="http://schemas.microsoft.com/office/drawing/2014/main" id="{72D45A99-FD1E-4ADA-804B-56AA4435FE62}"/>
                </a:ext>
              </a:extLst>
            </p:cNvPr>
            <p:cNvSpPr>
              <a:spLocks noChangeAspect="1" noEditPoints="1"/>
            </p:cNvSpPr>
            <p:nvPr/>
          </p:nvSpPr>
          <p:spPr bwMode="auto">
            <a:xfrm>
              <a:off x="9644049" y="3749017"/>
              <a:ext cx="335941" cy="35857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grpSp>
      <p:sp>
        <p:nvSpPr>
          <p:cNvPr id="523" name="TextBox 522">
            <a:extLst>
              <a:ext uri="{FF2B5EF4-FFF2-40B4-BE49-F238E27FC236}">
                <a16:creationId xmlns:a16="http://schemas.microsoft.com/office/drawing/2014/main" id="{3879B669-97B8-45E2-9AE9-4FE0CA5130B3}"/>
              </a:ext>
            </a:extLst>
          </p:cNvPr>
          <p:cNvSpPr txBox="1"/>
          <p:nvPr/>
        </p:nvSpPr>
        <p:spPr>
          <a:xfrm>
            <a:off x="8156449" y="4042552"/>
            <a:ext cx="2354295" cy="1015663"/>
          </a:xfrm>
          <a:prstGeom prst="rect">
            <a:avLst/>
          </a:prstGeom>
          <a:noFill/>
        </p:spPr>
        <p:txBody>
          <a:bodyPr wrap="square" lIns="0" tIns="0" rIns="0" bIns="0" rtlCol="0" anchor="ctr">
            <a:spAutoFit/>
          </a:bodyPr>
          <a:lstStyle/>
          <a:p>
            <a:pPr algn="ctr" rtl="0">
              <a:spcAft>
                <a:spcPts val="588"/>
              </a:spcAft>
            </a:pPr>
            <a:r>
              <a:rPr lang="fr-fr" sz="6600" b="0" i="0" u="none" baseline="0" dirty="0">
                <a:solidFill>
                  <a:srgbClr val="4B53BC"/>
                </a:solidFill>
                <a:latin typeface="+mj-lt"/>
              </a:rPr>
              <a:t>200</a:t>
            </a:r>
            <a:r>
              <a:rPr lang="fr-fr" sz="4400" b="0" i="0" u="none" baseline="0" dirty="0">
                <a:solidFill>
                  <a:srgbClr val="4B53BC"/>
                </a:solidFill>
                <a:latin typeface="+mj-lt"/>
              </a:rPr>
              <a:t> %</a:t>
            </a:r>
            <a:endParaRPr lang="fr-fr" sz="4800">
              <a:solidFill>
                <a:srgbClr val="4B53BC"/>
              </a:solidFill>
              <a:latin typeface="+mj-lt"/>
              <a:cs typeface="Segoe UI Semibold"/>
            </a:endParaRPr>
          </a:p>
        </p:txBody>
      </p:sp>
      <p:sp>
        <p:nvSpPr>
          <p:cNvPr id="524" name="Rectangle 523">
            <a:extLst>
              <a:ext uri="{FF2B5EF4-FFF2-40B4-BE49-F238E27FC236}">
                <a16:creationId xmlns:a16="http://schemas.microsoft.com/office/drawing/2014/main" id="{63501302-7332-44A2-A2FB-46BF5BC94B34}"/>
              </a:ext>
            </a:extLst>
          </p:cNvPr>
          <p:cNvSpPr/>
          <p:nvPr/>
        </p:nvSpPr>
        <p:spPr>
          <a:xfrm>
            <a:off x="8367368" y="4951317"/>
            <a:ext cx="3239415" cy="492443"/>
          </a:xfrm>
          <a:prstGeom prst="rect">
            <a:avLst/>
          </a:prstGeom>
        </p:spPr>
        <p:txBody>
          <a:bodyPr wrap="square" lIns="0" tIns="0" rIns="0" bIns="0" anchor="t">
            <a:spAutoFit/>
          </a:bodyPr>
          <a:lstStyle/>
          <a:p>
            <a:pPr algn="l" rtl="0"/>
            <a:r>
              <a:rPr lang="fr-fr" sz="1600" b="0" i="1" u="none" baseline="0" dirty="0"/>
              <a:t>d</a:t>
            </a:r>
            <a:r>
              <a:rPr lang="fr-FR" sz="1600" b="0" i="1" u="none" baseline="0" dirty="0"/>
              <a:t>’</a:t>
            </a:r>
            <a:r>
              <a:rPr lang="fr-fr" sz="1600" b="0" i="1" u="none" baseline="0" dirty="0"/>
              <a:t>augmentation des procès-verbaux</a:t>
            </a:r>
            <a:r>
              <a:rPr lang="fr-fr" sz="1600" b="0" i="0" u="none" baseline="0" dirty="0"/>
              <a:t> </a:t>
            </a:r>
            <a:br>
              <a:rPr lang="fr-fr" sz="1600" i="1" dirty="0"/>
            </a:br>
            <a:r>
              <a:rPr lang="fr-fr" sz="1600" b="0" i="1" u="none" baseline="0" dirty="0"/>
              <a:t>de réunions hebdomadaires</a:t>
            </a:r>
            <a:endParaRPr lang="fr-fr" sz="1600" i="1" dirty="0">
              <a:cs typeface="Segoe UI"/>
            </a:endParaRPr>
          </a:p>
        </p:txBody>
      </p:sp>
    </p:spTree>
    <p:extLst>
      <p:ext uri="{BB962C8B-B14F-4D97-AF65-F5344CB8AC3E}">
        <p14:creationId xmlns:p14="http://schemas.microsoft.com/office/powerpoint/2010/main" val="406788552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788277-D929-4930-9588-1D09BB6034C0}"/>
              </a:ext>
            </a:extLst>
          </p:cNvPr>
          <p:cNvSpPr>
            <a:spLocks noGrp="1"/>
          </p:cNvSpPr>
          <p:nvPr>
            <p:ph type="title"/>
          </p:nvPr>
        </p:nvSpPr>
        <p:spPr>
          <a:xfrm>
            <a:off x="588262" y="487978"/>
            <a:ext cx="11603737" cy="492443"/>
          </a:xfrm>
        </p:spPr>
        <p:txBody>
          <a:bodyPr/>
          <a:lstStyle/>
          <a:p>
            <a:pPr algn="l" rtl="0"/>
            <a:r>
              <a:rPr lang="fr-fr" sz="3200" b="0" i="0" u="none" baseline="0" dirty="0">
                <a:cs typeface="Segoe UI"/>
              </a:rPr>
              <a:t>Mettre en place le travail à distance dans toute l</a:t>
            </a:r>
            <a:r>
              <a:rPr lang="fr-FR" sz="3200" b="0" i="0" u="none" baseline="0" dirty="0">
                <a:cs typeface="Segoe UI"/>
              </a:rPr>
              <a:t>’</a:t>
            </a:r>
            <a:r>
              <a:rPr lang="fr-fr" sz="3200" b="0" i="0" u="none" baseline="0" dirty="0">
                <a:cs typeface="Segoe UI"/>
              </a:rPr>
              <a:t>entreprise</a:t>
            </a:r>
          </a:p>
        </p:txBody>
      </p:sp>
      <p:sp>
        <p:nvSpPr>
          <p:cNvPr id="92" name="Rectangle 91">
            <a:extLst>
              <a:ext uri="{FF2B5EF4-FFF2-40B4-BE49-F238E27FC236}">
                <a16:creationId xmlns:a16="http://schemas.microsoft.com/office/drawing/2014/main" id="{8E1C13D8-53F1-4D4F-9B6C-C10F9D6E633A}"/>
              </a:ext>
            </a:extLst>
          </p:cNvPr>
          <p:cNvSpPr/>
          <p:nvPr/>
        </p:nvSpPr>
        <p:spPr bwMode="auto">
          <a:xfrm>
            <a:off x="997889" y="1283293"/>
            <a:ext cx="3399124" cy="437043"/>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64008" rIns="91440" bIns="64008" numCol="1" spcCol="0" rtlCol="0" fromWordArt="0" anchor="ctr" anchorCtr="0" forceAA="0" compatLnSpc="1">
            <a:prstTxWarp prst="textNoShape">
              <a:avLst/>
            </a:prstTxWarp>
            <a:spAutoFit/>
          </a:bodyPr>
          <a:lstStyle/>
          <a:p>
            <a:pPr algn="l" defTabSz="932472" rtl="0" fontAlgn="base">
              <a:spcBef>
                <a:spcPct val="0"/>
              </a:spcBef>
              <a:spcAft>
                <a:spcPct val="0"/>
              </a:spcAft>
            </a:pPr>
            <a:endParaRPr lang="fr-fr" sz="2000"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28" name="Rectangle 127">
            <a:extLst>
              <a:ext uri="{FF2B5EF4-FFF2-40B4-BE49-F238E27FC236}">
                <a16:creationId xmlns:a16="http://schemas.microsoft.com/office/drawing/2014/main" id="{E4EF3524-81F4-4A10-8351-1574D47A15DC}"/>
              </a:ext>
            </a:extLst>
          </p:cNvPr>
          <p:cNvSpPr/>
          <p:nvPr/>
        </p:nvSpPr>
        <p:spPr bwMode="auto">
          <a:xfrm>
            <a:off x="4604077" y="1283293"/>
            <a:ext cx="3399124" cy="437043"/>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64008" rIns="91440" bIns="64008" numCol="1" spcCol="0" rtlCol="0" fromWordArt="0" anchor="ctr" anchorCtr="0" forceAA="0" compatLnSpc="1">
            <a:prstTxWarp prst="textNoShape">
              <a:avLst/>
            </a:prstTxWarp>
            <a:spAutoFit/>
          </a:bodyPr>
          <a:lstStyle/>
          <a:p>
            <a:pPr algn="l" defTabSz="932472" rtl="0" fontAlgn="base">
              <a:spcBef>
                <a:spcPct val="0"/>
              </a:spcBef>
              <a:spcAft>
                <a:spcPct val="0"/>
              </a:spcAft>
            </a:pPr>
            <a:endParaRPr lang="fr-fr" sz="2000"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29" name="Rectangle 128">
            <a:extLst>
              <a:ext uri="{FF2B5EF4-FFF2-40B4-BE49-F238E27FC236}">
                <a16:creationId xmlns:a16="http://schemas.microsoft.com/office/drawing/2014/main" id="{25ECDE98-E88A-48B4-9FAE-72ABE34B66A9}"/>
              </a:ext>
            </a:extLst>
          </p:cNvPr>
          <p:cNvSpPr/>
          <p:nvPr/>
        </p:nvSpPr>
        <p:spPr bwMode="auto">
          <a:xfrm>
            <a:off x="8210264" y="1283293"/>
            <a:ext cx="3399124" cy="437043"/>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64008" rIns="91440" bIns="64008" numCol="1" spcCol="0" rtlCol="0" fromWordArt="0" anchor="ctr" anchorCtr="0" forceAA="0" compatLnSpc="1">
            <a:prstTxWarp prst="textNoShape">
              <a:avLst/>
            </a:prstTxWarp>
            <a:spAutoFit/>
          </a:bodyPr>
          <a:lstStyle/>
          <a:p>
            <a:pPr algn="l" defTabSz="932472" rtl="0" fontAlgn="base">
              <a:spcBef>
                <a:spcPct val="0"/>
              </a:spcBef>
              <a:spcAft>
                <a:spcPct val="0"/>
              </a:spcAft>
            </a:pPr>
            <a:endParaRPr lang="fr-fr" sz="2000"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09" name="Arrow: Bent 108">
            <a:extLst>
              <a:ext uri="{FF2B5EF4-FFF2-40B4-BE49-F238E27FC236}">
                <a16:creationId xmlns:a16="http://schemas.microsoft.com/office/drawing/2014/main" id="{BDA3919A-CE09-4138-A9D0-11DAA8D50183}"/>
              </a:ext>
            </a:extLst>
          </p:cNvPr>
          <p:cNvSpPr/>
          <p:nvPr/>
        </p:nvSpPr>
        <p:spPr bwMode="auto">
          <a:xfrm flipV="1">
            <a:off x="922083" y="1784969"/>
            <a:ext cx="3354724" cy="1224931"/>
          </a:xfrm>
          <a:prstGeom prst="bentArrow">
            <a:avLst>
              <a:gd name="adj1" fmla="val 25000"/>
              <a:gd name="adj2" fmla="val 0"/>
              <a:gd name="adj3" fmla="val 25000"/>
              <a:gd name="adj4" fmla="val 347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10" name="Rectangle: Rounded Corners 109">
            <a:extLst>
              <a:ext uri="{FF2B5EF4-FFF2-40B4-BE49-F238E27FC236}">
                <a16:creationId xmlns:a16="http://schemas.microsoft.com/office/drawing/2014/main" id="{B8D516AD-49AD-4389-A834-1F65536A4E9E}"/>
              </a:ext>
            </a:extLst>
          </p:cNvPr>
          <p:cNvSpPr/>
          <p:nvPr/>
        </p:nvSpPr>
        <p:spPr bwMode="auto">
          <a:xfrm>
            <a:off x="4048207" y="2992372"/>
            <a:ext cx="228600" cy="36576"/>
          </a:xfrm>
          <a:prstGeom prst="roundRect">
            <a:avLst>
              <a:gd name="adj" fmla="val 5000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11" name="Rectangle 110">
            <a:extLst>
              <a:ext uri="{FF2B5EF4-FFF2-40B4-BE49-F238E27FC236}">
                <a16:creationId xmlns:a16="http://schemas.microsoft.com/office/drawing/2014/main" id="{82FBA1F2-0B52-4104-B300-8504EFDC347E}"/>
              </a:ext>
            </a:extLst>
          </p:cNvPr>
          <p:cNvSpPr/>
          <p:nvPr/>
        </p:nvSpPr>
        <p:spPr>
          <a:xfrm>
            <a:off x="1124784" y="1815774"/>
            <a:ext cx="3152023" cy="923330"/>
          </a:xfrm>
          <a:prstGeom prst="rect">
            <a:avLst/>
          </a:prstGeom>
        </p:spPr>
        <p:txBody>
          <a:bodyPr wrap="square" lIns="0" tIns="0" rIns="0" bIns="0" anchor="t">
            <a:spAutoFit/>
          </a:bodyPr>
          <a:lstStyle/>
          <a:p>
            <a:pPr algn="l" rtl="0" fontAlgn="base">
              <a:spcBef>
                <a:spcPts val="600"/>
              </a:spcBef>
              <a:buSzPct val="100000"/>
              <a:defRPr/>
            </a:pPr>
            <a:r>
              <a:rPr lang="fr-fr" sz="1200" b="0" i="0" u="none" baseline="0" dirty="0">
                <a:cs typeface="Segoe UI"/>
              </a:rPr>
              <a:t>Définissez une stratégie, partagez </a:t>
            </a:r>
            <a:br>
              <a:rPr lang="fr-fr" sz="1200" b="0" i="0" u="none" baseline="0" dirty="0">
                <a:cs typeface="Segoe UI"/>
              </a:rPr>
            </a:br>
            <a:r>
              <a:rPr lang="fr-fr" sz="1200" b="0" i="0" u="none" baseline="0" dirty="0">
                <a:cs typeface="Segoe UI"/>
              </a:rPr>
              <a:t>et collaborez en temps réel pour coordonner les mises sur le marché et livrer des campagnes aux parties prenantes internes </a:t>
            </a:r>
            <a:br>
              <a:rPr lang="fr-fr" sz="1200" b="0" i="0" u="none" baseline="0" dirty="0">
                <a:cs typeface="Segoe UI"/>
              </a:rPr>
            </a:br>
            <a:r>
              <a:rPr lang="fr-fr" sz="1200" b="0" i="0" u="none" baseline="0" dirty="0">
                <a:cs typeface="Segoe UI"/>
              </a:rPr>
              <a:t>et externes</a:t>
            </a:r>
          </a:p>
        </p:txBody>
      </p:sp>
      <p:sp>
        <p:nvSpPr>
          <p:cNvPr id="6" name="TextBox 5">
            <a:extLst>
              <a:ext uri="{FF2B5EF4-FFF2-40B4-BE49-F238E27FC236}">
                <a16:creationId xmlns:a16="http://schemas.microsoft.com/office/drawing/2014/main" id="{8EAE78FE-179C-40CA-AF28-AE02D16A394A}"/>
              </a:ext>
            </a:extLst>
          </p:cNvPr>
          <p:cNvSpPr txBox="1"/>
          <p:nvPr/>
        </p:nvSpPr>
        <p:spPr>
          <a:xfrm>
            <a:off x="1421297" y="1378704"/>
            <a:ext cx="955005" cy="246221"/>
          </a:xfrm>
          <a:prstGeom prst="rect">
            <a:avLst/>
          </a:prstGeom>
          <a:noFill/>
        </p:spPr>
        <p:txBody>
          <a:bodyPr wrap="none" lIns="0" tIns="0" rIns="0" bIns="0" rtlCol="0" anchor="t">
            <a:spAutoFit/>
          </a:bodyPr>
          <a:lstStyle/>
          <a:p>
            <a:pPr algn="l" rtl="0"/>
            <a:r>
              <a:rPr lang="fr-fr" sz="1600" b="0" i="0" u="none" baseline="0" dirty="0">
                <a:solidFill>
                  <a:schemeClr val="bg1"/>
                </a:solidFill>
                <a:latin typeface="Segoe UI Semibold"/>
                <a:cs typeface="Segoe UI Semibold"/>
              </a:rPr>
              <a:t>Marketing</a:t>
            </a:r>
          </a:p>
        </p:txBody>
      </p:sp>
      <p:sp>
        <p:nvSpPr>
          <p:cNvPr id="106" name="TextBox 105">
            <a:extLst>
              <a:ext uri="{FF2B5EF4-FFF2-40B4-BE49-F238E27FC236}">
                <a16:creationId xmlns:a16="http://schemas.microsoft.com/office/drawing/2014/main" id="{98E5C8A8-3D1B-4B8C-A813-1E203B587155}"/>
              </a:ext>
            </a:extLst>
          </p:cNvPr>
          <p:cNvSpPr txBox="1"/>
          <p:nvPr/>
        </p:nvSpPr>
        <p:spPr>
          <a:xfrm>
            <a:off x="5025018" y="1378704"/>
            <a:ext cx="617220" cy="246221"/>
          </a:xfrm>
          <a:prstGeom prst="rect">
            <a:avLst/>
          </a:prstGeom>
          <a:noFill/>
        </p:spPr>
        <p:txBody>
          <a:bodyPr wrap="none" lIns="0" tIns="0" rIns="0" bIns="0" rtlCol="0" anchor="t">
            <a:spAutoFit/>
          </a:bodyPr>
          <a:lstStyle/>
          <a:p>
            <a:pPr algn="l" rtl="0"/>
            <a:r>
              <a:rPr lang="fr-fr" sz="1600" b="0" i="0" u="none" baseline="0" dirty="0">
                <a:solidFill>
                  <a:schemeClr val="bg1"/>
                </a:solidFill>
                <a:latin typeface="Segoe UI Semibold"/>
                <a:cs typeface="Segoe UI Semibold"/>
              </a:rPr>
              <a:t>Ventes</a:t>
            </a:r>
          </a:p>
        </p:txBody>
      </p:sp>
      <p:sp>
        <p:nvSpPr>
          <p:cNvPr id="107" name="TextBox 106">
            <a:extLst>
              <a:ext uri="{FF2B5EF4-FFF2-40B4-BE49-F238E27FC236}">
                <a16:creationId xmlns:a16="http://schemas.microsoft.com/office/drawing/2014/main" id="{59079636-86D4-481C-89D9-A6E69934304D}"/>
              </a:ext>
            </a:extLst>
          </p:cNvPr>
          <p:cNvSpPr txBox="1"/>
          <p:nvPr/>
        </p:nvSpPr>
        <p:spPr>
          <a:xfrm>
            <a:off x="8620843" y="1378704"/>
            <a:ext cx="796693" cy="246221"/>
          </a:xfrm>
          <a:prstGeom prst="rect">
            <a:avLst/>
          </a:prstGeom>
          <a:noFill/>
        </p:spPr>
        <p:txBody>
          <a:bodyPr wrap="none" lIns="0" tIns="0" rIns="0" bIns="0" rtlCol="0" anchor="t">
            <a:spAutoFit/>
          </a:bodyPr>
          <a:lstStyle/>
          <a:p>
            <a:pPr algn="l" rtl="0"/>
            <a:r>
              <a:rPr lang="fr-fr" sz="1600" b="0" i="0" u="none" baseline="0" dirty="0">
                <a:solidFill>
                  <a:schemeClr val="bg1"/>
                </a:solidFill>
                <a:latin typeface="Segoe UI Semibold"/>
                <a:cs typeface="Segoe UI Semibold"/>
              </a:rPr>
              <a:t>Finances</a:t>
            </a:r>
          </a:p>
        </p:txBody>
      </p:sp>
      <p:sp>
        <p:nvSpPr>
          <p:cNvPr id="123" name="Arrow: Bent 122">
            <a:extLst>
              <a:ext uri="{FF2B5EF4-FFF2-40B4-BE49-F238E27FC236}">
                <a16:creationId xmlns:a16="http://schemas.microsoft.com/office/drawing/2014/main" id="{2E58F25F-2FFD-457D-9EE1-0DB6FBE65C81}"/>
              </a:ext>
            </a:extLst>
          </p:cNvPr>
          <p:cNvSpPr/>
          <p:nvPr/>
        </p:nvSpPr>
        <p:spPr bwMode="auto">
          <a:xfrm flipV="1">
            <a:off x="4518601" y="1784970"/>
            <a:ext cx="3354724" cy="1224931"/>
          </a:xfrm>
          <a:prstGeom prst="bentArrow">
            <a:avLst>
              <a:gd name="adj1" fmla="val 25000"/>
              <a:gd name="adj2" fmla="val 0"/>
              <a:gd name="adj3" fmla="val 25000"/>
              <a:gd name="adj4" fmla="val 347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24" name="Rectangle: Rounded Corners 123">
            <a:extLst>
              <a:ext uri="{FF2B5EF4-FFF2-40B4-BE49-F238E27FC236}">
                <a16:creationId xmlns:a16="http://schemas.microsoft.com/office/drawing/2014/main" id="{32DDD726-D803-4C01-B2C5-60AE1E9873EE}"/>
              </a:ext>
            </a:extLst>
          </p:cNvPr>
          <p:cNvSpPr/>
          <p:nvPr/>
        </p:nvSpPr>
        <p:spPr bwMode="auto">
          <a:xfrm>
            <a:off x="7644725" y="2992372"/>
            <a:ext cx="228600" cy="36576"/>
          </a:xfrm>
          <a:prstGeom prst="roundRect">
            <a:avLst>
              <a:gd name="adj" fmla="val 5000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26" name="Arrow: Bent 125">
            <a:extLst>
              <a:ext uri="{FF2B5EF4-FFF2-40B4-BE49-F238E27FC236}">
                <a16:creationId xmlns:a16="http://schemas.microsoft.com/office/drawing/2014/main" id="{2C3EC6F9-556D-44C6-8283-99E7673B9124}"/>
              </a:ext>
            </a:extLst>
          </p:cNvPr>
          <p:cNvSpPr/>
          <p:nvPr/>
        </p:nvSpPr>
        <p:spPr bwMode="auto">
          <a:xfrm flipV="1">
            <a:off x="8108960" y="1784970"/>
            <a:ext cx="3354724" cy="1224931"/>
          </a:xfrm>
          <a:prstGeom prst="bentArrow">
            <a:avLst>
              <a:gd name="adj1" fmla="val 25000"/>
              <a:gd name="adj2" fmla="val 0"/>
              <a:gd name="adj3" fmla="val 25000"/>
              <a:gd name="adj4" fmla="val 347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27" name="Rectangle: Rounded Corners 126">
            <a:extLst>
              <a:ext uri="{FF2B5EF4-FFF2-40B4-BE49-F238E27FC236}">
                <a16:creationId xmlns:a16="http://schemas.microsoft.com/office/drawing/2014/main" id="{C6AB9DA3-B5EF-4393-817A-7F99AB15E207}"/>
              </a:ext>
            </a:extLst>
          </p:cNvPr>
          <p:cNvSpPr/>
          <p:nvPr/>
        </p:nvSpPr>
        <p:spPr bwMode="auto">
          <a:xfrm>
            <a:off x="11235084" y="2992372"/>
            <a:ext cx="228600" cy="36576"/>
          </a:xfrm>
          <a:prstGeom prst="roundRect">
            <a:avLst>
              <a:gd name="adj" fmla="val 5000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97" name="Oval 96">
            <a:extLst>
              <a:ext uri="{FF2B5EF4-FFF2-40B4-BE49-F238E27FC236}">
                <a16:creationId xmlns:a16="http://schemas.microsoft.com/office/drawing/2014/main" id="{0D2FADBD-129B-4ACE-B6D1-FA1479AD02EA}"/>
              </a:ext>
            </a:extLst>
          </p:cNvPr>
          <p:cNvSpPr/>
          <p:nvPr/>
        </p:nvSpPr>
        <p:spPr bwMode="auto">
          <a:xfrm>
            <a:off x="4184088" y="1167301"/>
            <a:ext cx="669026" cy="669026"/>
          </a:xfrm>
          <a:prstGeom prst="ellipse">
            <a:avLst/>
          </a:prstGeom>
          <a:solidFill>
            <a:schemeClr val="bg1"/>
          </a:solidFill>
          <a:ln w="6350">
            <a:solidFill>
              <a:srgbClr val="4B53B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98" name="Oval 97">
            <a:extLst>
              <a:ext uri="{FF2B5EF4-FFF2-40B4-BE49-F238E27FC236}">
                <a16:creationId xmlns:a16="http://schemas.microsoft.com/office/drawing/2014/main" id="{76EC381E-75E7-44E8-93B6-BAE013466BE3}"/>
              </a:ext>
            </a:extLst>
          </p:cNvPr>
          <p:cNvSpPr/>
          <p:nvPr/>
        </p:nvSpPr>
        <p:spPr bwMode="auto">
          <a:xfrm>
            <a:off x="4219247" y="1202460"/>
            <a:ext cx="598708" cy="598708"/>
          </a:xfrm>
          <a:prstGeom prst="ellipse">
            <a:avLst/>
          </a:prstGeom>
          <a:solidFill>
            <a:schemeClr val="bg1"/>
          </a:solidFill>
          <a:ln w="3175">
            <a:solidFill>
              <a:schemeClr val="bg1">
                <a:lumMod val="9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01" name="Oval 100">
            <a:extLst>
              <a:ext uri="{FF2B5EF4-FFF2-40B4-BE49-F238E27FC236}">
                <a16:creationId xmlns:a16="http://schemas.microsoft.com/office/drawing/2014/main" id="{70086F6F-17E9-4998-93DD-95C0EEAA56AB}"/>
              </a:ext>
            </a:extLst>
          </p:cNvPr>
          <p:cNvSpPr/>
          <p:nvPr/>
        </p:nvSpPr>
        <p:spPr bwMode="auto">
          <a:xfrm>
            <a:off x="7779913" y="1167301"/>
            <a:ext cx="669026" cy="669026"/>
          </a:xfrm>
          <a:prstGeom prst="ellipse">
            <a:avLst/>
          </a:prstGeom>
          <a:solidFill>
            <a:schemeClr val="bg1"/>
          </a:solidFill>
          <a:ln w="6350">
            <a:solidFill>
              <a:srgbClr val="4B53B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02" name="Oval 101">
            <a:extLst>
              <a:ext uri="{FF2B5EF4-FFF2-40B4-BE49-F238E27FC236}">
                <a16:creationId xmlns:a16="http://schemas.microsoft.com/office/drawing/2014/main" id="{A5CF7830-33F2-40F1-A9C2-2D2F4186B2DA}"/>
              </a:ext>
            </a:extLst>
          </p:cNvPr>
          <p:cNvSpPr/>
          <p:nvPr/>
        </p:nvSpPr>
        <p:spPr bwMode="auto">
          <a:xfrm>
            <a:off x="7815072" y="1202460"/>
            <a:ext cx="598708" cy="598708"/>
          </a:xfrm>
          <a:prstGeom prst="ellipse">
            <a:avLst/>
          </a:prstGeom>
          <a:solidFill>
            <a:schemeClr val="bg1"/>
          </a:solidFill>
          <a:ln w="3175">
            <a:solidFill>
              <a:schemeClr val="bg1">
                <a:lumMod val="9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30" name="Rectangle 129">
            <a:extLst>
              <a:ext uri="{FF2B5EF4-FFF2-40B4-BE49-F238E27FC236}">
                <a16:creationId xmlns:a16="http://schemas.microsoft.com/office/drawing/2014/main" id="{038DE25B-8C74-436C-8297-6DE6C1680990}"/>
              </a:ext>
            </a:extLst>
          </p:cNvPr>
          <p:cNvSpPr/>
          <p:nvPr/>
        </p:nvSpPr>
        <p:spPr>
          <a:xfrm>
            <a:off x="4727627" y="1815774"/>
            <a:ext cx="3152023" cy="1159292"/>
          </a:xfrm>
          <a:prstGeom prst="rect">
            <a:avLst/>
          </a:prstGeom>
        </p:spPr>
        <p:txBody>
          <a:bodyPr wrap="square" lIns="0" tIns="0" rIns="0" bIns="0" anchor="t">
            <a:spAutoFit/>
          </a:bodyPr>
          <a:lstStyle/>
          <a:p>
            <a:pPr algn="l" rtl="0" fontAlgn="base">
              <a:spcBef>
                <a:spcPts val="400"/>
              </a:spcBef>
              <a:buSzPct val="100000"/>
              <a:defRPr/>
            </a:pPr>
            <a:r>
              <a:rPr lang="fr-fr" sz="1200" b="0" i="0" u="none" baseline="0" dirty="0">
                <a:cs typeface="Segoe UI"/>
              </a:rPr>
              <a:t>Rédigez et partagez aisément des propositions en ligne avec les membres de l</a:t>
            </a:r>
            <a:r>
              <a:rPr lang="fr-FR" sz="1200" b="0" i="0" u="none" baseline="0" dirty="0">
                <a:cs typeface="Segoe UI"/>
              </a:rPr>
              <a:t>’</a:t>
            </a:r>
            <a:r>
              <a:rPr lang="fr-fr" sz="1200" b="0" i="0" u="none" baseline="0" dirty="0">
                <a:cs typeface="Segoe UI"/>
              </a:rPr>
              <a:t>équipe et les principales parties prenantes</a:t>
            </a:r>
          </a:p>
          <a:p>
            <a:pPr algn="l" rtl="0" fontAlgn="base">
              <a:spcBef>
                <a:spcPts val="400"/>
              </a:spcBef>
              <a:buSzPct val="100000"/>
              <a:defRPr/>
            </a:pPr>
            <a:r>
              <a:rPr lang="fr-fr" sz="1200" b="0" i="0" u="none" baseline="0" dirty="0">
                <a:cs typeface="Segoe UI"/>
              </a:rPr>
              <a:t>Gérez la planification, la formation et la préparation des équipes commerciales dans un seul et même environnement</a:t>
            </a:r>
          </a:p>
        </p:txBody>
      </p:sp>
      <p:sp>
        <p:nvSpPr>
          <p:cNvPr id="131" name="Rectangle 130">
            <a:extLst>
              <a:ext uri="{FF2B5EF4-FFF2-40B4-BE49-F238E27FC236}">
                <a16:creationId xmlns:a16="http://schemas.microsoft.com/office/drawing/2014/main" id="{7089CDDF-B0CA-48A6-8508-5A2FE8786994}"/>
              </a:ext>
            </a:extLst>
          </p:cNvPr>
          <p:cNvSpPr/>
          <p:nvPr/>
        </p:nvSpPr>
        <p:spPr>
          <a:xfrm>
            <a:off x="8311661" y="1815774"/>
            <a:ext cx="3152023" cy="738664"/>
          </a:xfrm>
          <a:prstGeom prst="rect">
            <a:avLst/>
          </a:prstGeom>
        </p:spPr>
        <p:txBody>
          <a:bodyPr wrap="square" lIns="0" tIns="0" rIns="0" bIns="0" anchor="t">
            <a:spAutoFit/>
          </a:bodyPr>
          <a:lstStyle/>
          <a:p>
            <a:pPr algn="l" rtl="0" fontAlgn="base">
              <a:spcBef>
                <a:spcPts val="600"/>
              </a:spcBef>
              <a:buSzPct val="100000"/>
              <a:defRPr/>
            </a:pPr>
            <a:r>
              <a:rPr lang="fr-fr" sz="1200" b="0" i="0" u="none" baseline="0" dirty="0">
                <a:cs typeface="Segoe UI"/>
              </a:rPr>
              <a:t>Rassemblez les données sur les résultats financiers et élaborez des rapports de façon fluide avec les applications intégrées et les fonctionnalités de partage</a:t>
            </a:r>
          </a:p>
        </p:txBody>
      </p:sp>
      <p:sp>
        <p:nvSpPr>
          <p:cNvPr id="133" name="Rectangle 132">
            <a:extLst>
              <a:ext uri="{FF2B5EF4-FFF2-40B4-BE49-F238E27FC236}">
                <a16:creationId xmlns:a16="http://schemas.microsoft.com/office/drawing/2014/main" id="{B2B331B3-B78B-4BD3-ABA0-35BA16F4EE04}"/>
              </a:ext>
            </a:extLst>
          </p:cNvPr>
          <p:cNvSpPr/>
          <p:nvPr/>
        </p:nvSpPr>
        <p:spPr bwMode="auto">
          <a:xfrm>
            <a:off x="997889" y="3290992"/>
            <a:ext cx="3399124" cy="437043"/>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64008" rIns="91440" bIns="64008" numCol="1" spcCol="0" rtlCol="0" fromWordArt="0" anchor="ctr" anchorCtr="0" forceAA="0" compatLnSpc="1">
            <a:prstTxWarp prst="textNoShape">
              <a:avLst/>
            </a:prstTxWarp>
            <a:spAutoFit/>
          </a:bodyPr>
          <a:lstStyle/>
          <a:p>
            <a:pPr algn="l" defTabSz="932472" rtl="0" fontAlgn="base">
              <a:spcBef>
                <a:spcPct val="0"/>
              </a:spcBef>
              <a:spcAft>
                <a:spcPct val="0"/>
              </a:spcAft>
            </a:pPr>
            <a:endParaRPr lang="fr-fr" sz="2000"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36" name="Arrow: Bent 135">
            <a:extLst>
              <a:ext uri="{FF2B5EF4-FFF2-40B4-BE49-F238E27FC236}">
                <a16:creationId xmlns:a16="http://schemas.microsoft.com/office/drawing/2014/main" id="{8B286652-7441-49E2-B263-04EB3B18FD02}"/>
              </a:ext>
            </a:extLst>
          </p:cNvPr>
          <p:cNvSpPr/>
          <p:nvPr/>
        </p:nvSpPr>
        <p:spPr bwMode="auto">
          <a:xfrm flipV="1">
            <a:off x="922083" y="3792666"/>
            <a:ext cx="3354724" cy="1029069"/>
          </a:xfrm>
          <a:prstGeom prst="bentArrow">
            <a:avLst>
              <a:gd name="adj1" fmla="val 25000"/>
              <a:gd name="adj2" fmla="val 0"/>
              <a:gd name="adj3" fmla="val 25000"/>
              <a:gd name="adj4" fmla="val 5882"/>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37" name="Rectangle: Rounded Corners 136">
            <a:extLst>
              <a:ext uri="{FF2B5EF4-FFF2-40B4-BE49-F238E27FC236}">
                <a16:creationId xmlns:a16="http://schemas.microsoft.com/office/drawing/2014/main" id="{B2A76E64-2557-4224-A99C-403D877CB52F}"/>
              </a:ext>
            </a:extLst>
          </p:cNvPr>
          <p:cNvSpPr/>
          <p:nvPr/>
        </p:nvSpPr>
        <p:spPr bwMode="auto">
          <a:xfrm>
            <a:off x="4048207" y="4798153"/>
            <a:ext cx="228600" cy="36576"/>
          </a:xfrm>
          <a:prstGeom prst="roundRect">
            <a:avLst>
              <a:gd name="adj" fmla="val 5000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38" name="Rectangle 137">
            <a:extLst>
              <a:ext uri="{FF2B5EF4-FFF2-40B4-BE49-F238E27FC236}">
                <a16:creationId xmlns:a16="http://schemas.microsoft.com/office/drawing/2014/main" id="{C5391A30-42D1-484A-BBC5-7616D17DE930}"/>
              </a:ext>
            </a:extLst>
          </p:cNvPr>
          <p:cNvSpPr/>
          <p:nvPr/>
        </p:nvSpPr>
        <p:spPr>
          <a:xfrm>
            <a:off x="1124784" y="3823473"/>
            <a:ext cx="3152023" cy="738664"/>
          </a:xfrm>
          <a:prstGeom prst="rect">
            <a:avLst/>
          </a:prstGeom>
        </p:spPr>
        <p:txBody>
          <a:bodyPr wrap="square" lIns="0" tIns="0" rIns="0" bIns="0" anchor="t">
            <a:spAutoFit/>
          </a:bodyPr>
          <a:lstStyle/>
          <a:p>
            <a:pPr algn="l" rtl="0" fontAlgn="base">
              <a:spcBef>
                <a:spcPts val="600"/>
              </a:spcBef>
              <a:buSzPct val="100000"/>
              <a:defRPr/>
            </a:pPr>
            <a:r>
              <a:rPr lang="fr-fr" sz="1200" b="0" i="0" u="none" baseline="0" dirty="0">
                <a:cs typeface="Segoe UI"/>
              </a:rPr>
              <a:t>Gérez les ressources dans toute votre organisation pour le recrutement, la formation et les évaluations, avec un accès rapide aux fichiers partagés et aux paramètres de contrôle</a:t>
            </a:r>
          </a:p>
        </p:txBody>
      </p:sp>
      <p:sp>
        <p:nvSpPr>
          <p:cNvPr id="157" name="Oval 156">
            <a:extLst>
              <a:ext uri="{FF2B5EF4-FFF2-40B4-BE49-F238E27FC236}">
                <a16:creationId xmlns:a16="http://schemas.microsoft.com/office/drawing/2014/main" id="{A9FA84B9-5FAC-48C6-949C-230BEAF3D505}"/>
              </a:ext>
            </a:extLst>
          </p:cNvPr>
          <p:cNvSpPr/>
          <p:nvPr/>
        </p:nvSpPr>
        <p:spPr bwMode="auto">
          <a:xfrm>
            <a:off x="588263" y="3175000"/>
            <a:ext cx="669026" cy="669026"/>
          </a:xfrm>
          <a:prstGeom prst="ellipse">
            <a:avLst/>
          </a:prstGeom>
          <a:solidFill>
            <a:schemeClr val="bg1"/>
          </a:solidFill>
          <a:ln w="6350">
            <a:solidFill>
              <a:srgbClr val="4B53B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58" name="Oval 157">
            <a:extLst>
              <a:ext uri="{FF2B5EF4-FFF2-40B4-BE49-F238E27FC236}">
                <a16:creationId xmlns:a16="http://schemas.microsoft.com/office/drawing/2014/main" id="{FE849DFD-4FFE-4B57-9B51-696344C29CF1}"/>
              </a:ext>
            </a:extLst>
          </p:cNvPr>
          <p:cNvSpPr/>
          <p:nvPr/>
        </p:nvSpPr>
        <p:spPr bwMode="auto">
          <a:xfrm>
            <a:off x="623422" y="3210159"/>
            <a:ext cx="598708" cy="598708"/>
          </a:xfrm>
          <a:prstGeom prst="ellipse">
            <a:avLst/>
          </a:prstGeom>
          <a:solidFill>
            <a:schemeClr val="bg1"/>
          </a:solidFill>
          <a:ln w="3175">
            <a:solidFill>
              <a:schemeClr val="bg1">
                <a:lumMod val="9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40" name="TextBox 139">
            <a:extLst>
              <a:ext uri="{FF2B5EF4-FFF2-40B4-BE49-F238E27FC236}">
                <a16:creationId xmlns:a16="http://schemas.microsoft.com/office/drawing/2014/main" id="{722BBF98-3782-4BCE-90A5-499519BC5716}"/>
              </a:ext>
            </a:extLst>
          </p:cNvPr>
          <p:cNvSpPr txBox="1"/>
          <p:nvPr/>
        </p:nvSpPr>
        <p:spPr>
          <a:xfrm>
            <a:off x="1421297" y="3386403"/>
            <a:ext cx="1972528" cy="246221"/>
          </a:xfrm>
          <a:prstGeom prst="rect">
            <a:avLst/>
          </a:prstGeom>
          <a:noFill/>
        </p:spPr>
        <p:txBody>
          <a:bodyPr wrap="none" lIns="0" tIns="0" rIns="0" bIns="0" rtlCol="0" anchor="t">
            <a:spAutoFit/>
          </a:bodyPr>
          <a:lstStyle/>
          <a:p>
            <a:pPr algn="l" rtl="0"/>
            <a:r>
              <a:rPr lang="fr-fr" sz="1600" b="0" i="0" u="none" baseline="0" dirty="0">
                <a:solidFill>
                  <a:schemeClr val="bg1"/>
                </a:solidFill>
                <a:latin typeface="Segoe UI Semibold"/>
                <a:cs typeface="Segoe UI Semibold"/>
              </a:rPr>
              <a:t>Ressources humaines</a:t>
            </a:r>
          </a:p>
        </p:txBody>
      </p:sp>
      <p:sp>
        <p:nvSpPr>
          <p:cNvPr id="134" name="Rectangle 133">
            <a:extLst>
              <a:ext uri="{FF2B5EF4-FFF2-40B4-BE49-F238E27FC236}">
                <a16:creationId xmlns:a16="http://schemas.microsoft.com/office/drawing/2014/main" id="{A1552A68-CE95-4B99-AAA5-6BB2F67C33A2}"/>
              </a:ext>
            </a:extLst>
          </p:cNvPr>
          <p:cNvSpPr/>
          <p:nvPr/>
        </p:nvSpPr>
        <p:spPr bwMode="auto">
          <a:xfrm>
            <a:off x="4604077" y="3290992"/>
            <a:ext cx="3399124" cy="437043"/>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64008" rIns="91440" bIns="64008" numCol="1" spcCol="0" rtlCol="0" fromWordArt="0" anchor="ctr" anchorCtr="0" forceAA="0" compatLnSpc="1">
            <a:prstTxWarp prst="textNoShape">
              <a:avLst/>
            </a:prstTxWarp>
            <a:spAutoFit/>
          </a:bodyPr>
          <a:lstStyle/>
          <a:p>
            <a:pPr algn="l" defTabSz="932472" rtl="0" fontAlgn="base">
              <a:spcBef>
                <a:spcPct val="0"/>
              </a:spcBef>
              <a:spcAft>
                <a:spcPct val="0"/>
              </a:spcAft>
            </a:pPr>
            <a:endParaRPr lang="fr-fr" sz="2000"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41" name="TextBox 140">
            <a:extLst>
              <a:ext uri="{FF2B5EF4-FFF2-40B4-BE49-F238E27FC236}">
                <a16:creationId xmlns:a16="http://schemas.microsoft.com/office/drawing/2014/main" id="{BC1AA668-E103-4244-88CA-6ECCAD86A6D5}"/>
              </a:ext>
            </a:extLst>
          </p:cNvPr>
          <p:cNvSpPr txBox="1"/>
          <p:nvPr/>
        </p:nvSpPr>
        <p:spPr>
          <a:xfrm>
            <a:off x="5025018" y="3386403"/>
            <a:ext cx="1215076" cy="246221"/>
          </a:xfrm>
          <a:prstGeom prst="rect">
            <a:avLst/>
          </a:prstGeom>
          <a:noFill/>
        </p:spPr>
        <p:txBody>
          <a:bodyPr wrap="none" lIns="0" tIns="0" rIns="0" bIns="0" rtlCol="0" anchor="t">
            <a:spAutoFit/>
          </a:bodyPr>
          <a:lstStyle/>
          <a:p>
            <a:pPr algn="l" rtl="0"/>
            <a:r>
              <a:rPr lang="fr-fr" sz="1600" b="0" i="0" u="none" baseline="0" dirty="0">
                <a:solidFill>
                  <a:schemeClr val="bg1"/>
                </a:solidFill>
                <a:latin typeface="Segoe UI Semibold"/>
                <a:cs typeface="Segoe UI Semibold"/>
              </a:rPr>
              <a:t>Informatique</a:t>
            </a:r>
          </a:p>
        </p:txBody>
      </p:sp>
      <p:sp>
        <p:nvSpPr>
          <p:cNvPr id="143" name="Arrow: Bent 142">
            <a:extLst>
              <a:ext uri="{FF2B5EF4-FFF2-40B4-BE49-F238E27FC236}">
                <a16:creationId xmlns:a16="http://schemas.microsoft.com/office/drawing/2014/main" id="{24A931AB-70F5-40B9-A1E5-B0CDBB781567}"/>
              </a:ext>
            </a:extLst>
          </p:cNvPr>
          <p:cNvSpPr/>
          <p:nvPr/>
        </p:nvSpPr>
        <p:spPr bwMode="auto">
          <a:xfrm flipV="1">
            <a:off x="4518601" y="3792668"/>
            <a:ext cx="3354724" cy="1029069"/>
          </a:xfrm>
          <a:prstGeom prst="bentArrow">
            <a:avLst>
              <a:gd name="adj1" fmla="val 25000"/>
              <a:gd name="adj2" fmla="val 0"/>
              <a:gd name="adj3" fmla="val 25000"/>
              <a:gd name="adj4" fmla="val 347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44" name="Rectangle: Rounded Corners 143">
            <a:extLst>
              <a:ext uri="{FF2B5EF4-FFF2-40B4-BE49-F238E27FC236}">
                <a16:creationId xmlns:a16="http://schemas.microsoft.com/office/drawing/2014/main" id="{C44D0FD6-C4B6-4497-91F7-77544384082E}"/>
              </a:ext>
            </a:extLst>
          </p:cNvPr>
          <p:cNvSpPr/>
          <p:nvPr/>
        </p:nvSpPr>
        <p:spPr bwMode="auto">
          <a:xfrm>
            <a:off x="7644725" y="4798153"/>
            <a:ext cx="228600" cy="36576"/>
          </a:xfrm>
          <a:prstGeom prst="roundRect">
            <a:avLst>
              <a:gd name="adj" fmla="val 5000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54" name="Oval 153">
            <a:extLst>
              <a:ext uri="{FF2B5EF4-FFF2-40B4-BE49-F238E27FC236}">
                <a16:creationId xmlns:a16="http://schemas.microsoft.com/office/drawing/2014/main" id="{B44E47E3-3BF7-40F3-951B-1FB464DEAEC4}"/>
              </a:ext>
            </a:extLst>
          </p:cNvPr>
          <p:cNvSpPr/>
          <p:nvPr/>
        </p:nvSpPr>
        <p:spPr bwMode="auto">
          <a:xfrm>
            <a:off x="4184088" y="3175000"/>
            <a:ext cx="669026" cy="669026"/>
          </a:xfrm>
          <a:prstGeom prst="ellipse">
            <a:avLst/>
          </a:prstGeom>
          <a:solidFill>
            <a:schemeClr val="bg1"/>
          </a:solidFill>
          <a:ln w="6350">
            <a:solidFill>
              <a:srgbClr val="4B53B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55" name="Oval 154">
            <a:extLst>
              <a:ext uri="{FF2B5EF4-FFF2-40B4-BE49-F238E27FC236}">
                <a16:creationId xmlns:a16="http://schemas.microsoft.com/office/drawing/2014/main" id="{FFFD58EA-9C34-49CF-A7D5-86BB3CC5FF28}"/>
              </a:ext>
            </a:extLst>
          </p:cNvPr>
          <p:cNvSpPr/>
          <p:nvPr/>
        </p:nvSpPr>
        <p:spPr bwMode="auto">
          <a:xfrm>
            <a:off x="4219247" y="3210159"/>
            <a:ext cx="598708" cy="598708"/>
          </a:xfrm>
          <a:prstGeom prst="ellipse">
            <a:avLst/>
          </a:prstGeom>
          <a:solidFill>
            <a:schemeClr val="bg1"/>
          </a:solidFill>
          <a:ln w="3175">
            <a:solidFill>
              <a:schemeClr val="bg1">
                <a:lumMod val="9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49" name="Rectangle 148">
            <a:extLst>
              <a:ext uri="{FF2B5EF4-FFF2-40B4-BE49-F238E27FC236}">
                <a16:creationId xmlns:a16="http://schemas.microsoft.com/office/drawing/2014/main" id="{19E86241-7566-4BD8-A343-433C72FDA016}"/>
              </a:ext>
            </a:extLst>
          </p:cNvPr>
          <p:cNvSpPr/>
          <p:nvPr/>
        </p:nvSpPr>
        <p:spPr>
          <a:xfrm>
            <a:off x="4727627" y="3813445"/>
            <a:ext cx="3152023" cy="923330"/>
          </a:xfrm>
          <a:prstGeom prst="rect">
            <a:avLst/>
          </a:prstGeom>
        </p:spPr>
        <p:txBody>
          <a:bodyPr wrap="square" lIns="0" tIns="0" rIns="0" bIns="0" anchor="t">
            <a:spAutoFit/>
          </a:bodyPr>
          <a:lstStyle/>
          <a:p>
            <a:pPr algn="l" rtl="0" fontAlgn="base">
              <a:spcBef>
                <a:spcPts val="600"/>
              </a:spcBef>
              <a:buSzPct val="100000"/>
              <a:defRPr/>
            </a:pPr>
            <a:r>
              <a:rPr lang="fr-fr" sz="1200" b="0" i="0" u="none" baseline="0" dirty="0">
                <a:cs typeface="Segoe UI"/>
              </a:rPr>
              <a:t>Transformez la planification et la mise en œuvre du système d</a:t>
            </a:r>
            <a:r>
              <a:rPr lang="fr-FR" sz="1200" b="0" i="0" u="none" baseline="0" dirty="0">
                <a:cs typeface="Segoe UI"/>
              </a:rPr>
              <a:t>’</a:t>
            </a:r>
            <a:r>
              <a:rPr lang="fr-fr" sz="1200" b="0" i="0" u="none" baseline="0" dirty="0">
                <a:cs typeface="Segoe UI"/>
              </a:rPr>
              <a:t>information avec des canaux de communication organisés et la capacité de collaborer instantanément avec </a:t>
            </a:r>
            <a:br>
              <a:rPr lang="fr-fr" sz="1200" b="0" i="0" u="none" baseline="0" dirty="0">
                <a:cs typeface="Segoe UI"/>
              </a:rPr>
            </a:br>
            <a:r>
              <a:rPr lang="fr-fr" sz="1200" b="0" i="0" u="none" baseline="0" dirty="0">
                <a:cs typeface="Segoe UI"/>
              </a:rPr>
              <a:t>les équipes</a:t>
            </a:r>
          </a:p>
        </p:txBody>
      </p:sp>
      <p:sp>
        <p:nvSpPr>
          <p:cNvPr id="135" name="Rectangle 134">
            <a:extLst>
              <a:ext uri="{FF2B5EF4-FFF2-40B4-BE49-F238E27FC236}">
                <a16:creationId xmlns:a16="http://schemas.microsoft.com/office/drawing/2014/main" id="{9003B6BF-EFDF-43A0-97C7-350817ED7202}"/>
              </a:ext>
            </a:extLst>
          </p:cNvPr>
          <p:cNvSpPr/>
          <p:nvPr/>
        </p:nvSpPr>
        <p:spPr bwMode="auto">
          <a:xfrm>
            <a:off x="8210264" y="3290992"/>
            <a:ext cx="3399124" cy="437043"/>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64008" rIns="91440" bIns="64008" numCol="1" spcCol="0" rtlCol="0" fromWordArt="0" anchor="ctr" anchorCtr="0" forceAA="0" compatLnSpc="1">
            <a:prstTxWarp prst="textNoShape">
              <a:avLst/>
            </a:prstTxWarp>
            <a:spAutoFit/>
          </a:bodyPr>
          <a:lstStyle/>
          <a:p>
            <a:pPr algn="l" defTabSz="932472" rtl="0" fontAlgn="base">
              <a:spcBef>
                <a:spcPct val="0"/>
              </a:spcBef>
              <a:spcAft>
                <a:spcPct val="0"/>
              </a:spcAft>
            </a:pPr>
            <a:endParaRPr lang="fr-fr" sz="2000"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42" name="TextBox 141">
            <a:extLst>
              <a:ext uri="{FF2B5EF4-FFF2-40B4-BE49-F238E27FC236}">
                <a16:creationId xmlns:a16="http://schemas.microsoft.com/office/drawing/2014/main" id="{F603E43D-7B62-4E4B-8733-700731E88EE5}"/>
              </a:ext>
            </a:extLst>
          </p:cNvPr>
          <p:cNvSpPr txBox="1"/>
          <p:nvPr/>
        </p:nvSpPr>
        <p:spPr>
          <a:xfrm>
            <a:off x="8620843" y="3386403"/>
            <a:ext cx="931345" cy="246221"/>
          </a:xfrm>
          <a:prstGeom prst="rect">
            <a:avLst/>
          </a:prstGeom>
          <a:noFill/>
        </p:spPr>
        <p:txBody>
          <a:bodyPr wrap="none" lIns="0" tIns="0" rIns="0" bIns="0" rtlCol="0" anchor="t">
            <a:spAutoFit/>
          </a:bodyPr>
          <a:lstStyle/>
          <a:p>
            <a:pPr algn="l" rtl="0"/>
            <a:r>
              <a:rPr lang="fr-fr" sz="1600" b="0" i="0" u="none" baseline="0" dirty="0">
                <a:solidFill>
                  <a:schemeClr val="bg1"/>
                </a:solidFill>
                <a:latin typeface="Segoe UI Semibold"/>
                <a:cs typeface="Segoe UI Semibold"/>
              </a:rPr>
              <a:t>Ingénierie</a:t>
            </a:r>
          </a:p>
        </p:txBody>
      </p:sp>
      <p:sp>
        <p:nvSpPr>
          <p:cNvPr id="145" name="Arrow: Bent 144">
            <a:extLst>
              <a:ext uri="{FF2B5EF4-FFF2-40B4-BE49-F238E27FC236}">
                <a16:creationId xmlns:a16="http://schemas.microsoft.com/office/drawing/2014/main" id="{8B14ABB5-C31F-4F26-97FB-443B0100E679}"/>
              </a:ext>
            </a:extLst>
          </p:cNvPr>
          <p:cNvSpPr/>
          <p:nvPr/>
        </p:nvSpPr>
        <p:spPr bwMode="auto">
          <a:xfrm flipV="1">
            <a:off x="8108960" y="3792668"/>
            <a:ext cx="3354724" cy="1029069"/>
          </a:xfrm>
          <a:prstGeom prst="bentArrow">
            <a:avLst>
              <a:gd name="adj1" fmla="val 25000"/>
              <a:gd name="adj2" fmla="val 0"/>
              <a:gd name="adj3" fmla="val 25000"/>
              <a:gd name="adj4" fmla="val 347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46" name="Rectangle: Rounded Corners 145">
            <a:extLst>
              <a:ext uri="{FF2B5EF4-FFF2-40B4-BE49-F238E27FC236}">
                <a16:creationId xmlns:a16="http://schemas.microsoft.com/office/drawing/2014/main" id="{6D06E6AD-2BA8-464E-81D5-1669CEB0813E}"/>
              </a:ext>
            </a:extLst>
          </p:cNvPr>
          <p:cNvSpPr/>
          <p:nvPr/>
        </p:nvSpPr>
        <p:spPr bwMode="auto">
          <a:xfrm>
            <a:off x="11235084" y="4798153"/>
            <a:ext cx="228600" cy="36576"/>
          </a:xfrm>
          <a:prstGeom prst="roundRect">
            <a:avLst>
              <a:gd name="adj" fmla="val 5000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51" name="Oval 150">
            <a:extLst>
              <a:ext uri="{FF2B5EF4-FFF2-40B4-BE49-F238E27FC236}">
                <a16:creationId xmlns:a16="http://schemas.microsoft.com/office/drawing/2014/main" id="{8722DC91-6D8A-4D6E-955D-768BBDBBE88E}"/>
              </a:ext>
            </a:extLst>
          </p:cNvPr>
          <p:cNvSpPr/>
          <p:nvPr/>
        </p:nvSpPr>
        <p:spPr bwMode="auto">
          <a:xfrm>
            <a:off x="7779913" y="3175000"/>
            <a:ext cx="669026" cy="669026"/>
          </a:xfrm>
          <a:prstGeom prst="ellipse">
            <a:avLst/>
          </a:prstGeom>
          <a:solidFill>
            <a:schemeClr val="bg1"/>
          </a:solidFill>
          <a:ln w="6350">
            <a:solidFill>
              <a:srgbClr val="4B53B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52" name="Oval 151">
            <a:extLst>
              <a:ext uri="{FF2B5EF4-FFF2-40B4-BE49-F238E27FC236}">
                <a16:creationId xmlns:a16="http://schemas.microsoft.com/office/drawing/2014/main" id="{DEFA1274-31E8-4CE1-9D06-E1EC64DC878C}"/>
              </a:ext>
            </a:extLst>
          </p:cNvPr>
          <p:cNvSpPr/>
          <p:nvPr/>
        </p:nvSpPr>
        <p:spPr bwMode="auto">
          <a:xfrm>
            <a:off x="7815072" y="3210159"/>
            <a:ext cx="598708" cy="598708"/>
          </a:xfrm>
          <a:prstGeom prst="ellipse">
            <a:avLst/>
          </a:prstGeom>
          <a:solidFill>
            <a:schemeClr val="bg1"/>
          </a:solidFill>
          <a:ln w="3175">
            <a:solidFill>
              <a:schemeClr val="bg1">
                <a:lumMod val="9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50" name="Rectangle 149">
            <a:extLst>
              <a:ext uri="{FF2B5EF4-FFF2-40B4-BE49-F238E27FC236}">
                <a16:creationId xmlns:a16="http://schemas.microsoft.com/office/drawing/2014/main" id="{B0BEFCFE-A29F-4A59-A933-F4FB98934C78}"/>
              </a:ext>
            </a:extLst>
          </p:cNvPr>
          <p:cNvSpPr/>
          <p:nvPr/>
        </p:nvSpPr>
        <p:spPr>
          <a:xfrm>
            <a:off x="8311661" y="3823473"/>
            <a:ext cx="3152023" cy="553998"/>
          </a:xfrm>
          <a:prstGeom prst="rect">
            <a:avLst/>
          </a:prstGeom>
        </p:spPr>
        <p:txBody>
          <a:bodyPr wrap="square" lIns="0" tIns="0" rIns="0" bIns="0" anchor="t">
            <a:spAutoFit/>
          </a:bodyPr>
          <a:lstStyle/>
          <a:p>
            <a:pPr algn="l" rtl="0" fontAlgn="base">
              <a:spcBef>
                <a:spcPts val="600"/>
              </a:spcBef>
              <a:buSzPct val="100000"/>
              <a:defRPr/>
            </a:pPr>
            <a:r>
              <a:rPr lang="fr-fr" sz="1200" b="0" i="0" u="none" baseline="0" dirty="0">
                <a:cs typeface="Segoe UI"/>
              </a:rPr>
              <a:t>Passez rapidement de la conceptualisation </a:t>
            </a:r>
            <a:br>
              <a:rPr lang="fr-fr" sz="1200" b="0" i="0" u="none" baseline="0" dirty="0">
                <a:cs typeface="Segoe UI"/>
              </a:rPr>
            </a:br>
            <a:r>
              <a:rPr lang="fr-fr" sz="1200" b="0" i="0" u="none" baseline="0" dirty="0">
                <a:cs typeface="Segoe UI"/>
              </a:rPr>
              <a:t>au développement et au déploiement avec </a:t>
            </a:r>
            <a:br>
              <a:rPr lang="fr-fr" sz="1200" b="0" i="0" u="none" baseline="0" dirty="0">
                <a:cs typeface="Segoe UI"/>
              </a:rPr>
            </a:br>
            <a:r>
              <a:rPr lang="fr-fr" sz="1200" b="0" i="0" u="none" baseline="0" dirty="0">
                <a:cs typeface="Segoe UI"/>
              </a:rPr>
              <a:t>les outils de développement intégrés</a:t>
            </a:r>
          </a:p>
        </p:txBody>
      </p:sp>
      <p:sp>
        <p:nvSpPr>
          <p:cNvPr id="160" name="Rectangle 159">
            <a:extLst>
              <a:ext uri="{FF2B5EF4-FFF2-40B4-BE49-F238E27FC236}">
                <a16:creationId xmlns:a16="http://schemas.microsoft.com/office/drawing/2014/main" id="{7399E571-40F7-4E07-88E1-562E4167F0A3}"/>
              </a:ext>
            </a:extLst>
          </p:cNvPr>
          <p:cNvSpPr/>
          <p:nvPr/>
        </p:nvSpPr>
        <p:spPr bwMode="auto">
          <a:xfrm>
            <a:off x="997889" y="5017393"/>
            <a:ext cx="3399124" cy="437043"/>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64008" rIns="91440" bIns="64008" numCol="1" spcCol="0" rtlCol="0" fromWordArt="0" anchor="ctr" anchorCtr="0" forceAA="0" compatLnSpc="1">
            <a:prstTxWarp prst="textNoShape">
              <a:avLst/>
            </a:prstTxWarp>
            <a:spAutoFit/>
          </a:bodyPr>
          <a:lstStyle/>
          <a:p>
            <a:pPr algn="l" defTabSz="932472" rtl="0" fontAlgn="base">
              <a:spcBef>
                <a:spcPct val="0"/>
              </a:spcBef>
              <a:spcAft>
                <a:spcPct val="0"/>
              </a:spcAft>
            </a:pPr>
            <a:endParaRPr lang="fr-fr" sz="2000"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63" name="Arrow: Bent 162">
            <a:extLst>
              <a:ext uri="{FF2B5EF4-FFF2-40B4-BE49-F238E27FC236}">
                <a16:creationId xmlns:a16="http://schemas.microsoft.com/office/drawing/2014/main" id="{4D54EA55-839D-4DF7-835C-B0720AA76FC0}"/>
              </a:ext>
            </a:extLst>
          </p:cNvPr>
          <p:cNvSpPr/>
          <p:nvPr/>
        </p:nvSpPr>
        <p:spPr bwMode="auto">
          <a:xfrm flipV="1">
            <a:off x="922083" y="5519068"/>
            <a:ext cx="3354724" cy="750758"/>
          </a:xfrm>
          <a:prstGeom prst="bentArrow">
            <a:avLst>
              <a:gd name="adj1" fmla="val 25000"/>
              <a:gd name="adj2" fmla="val 0"/>
              <a:gd name="adj3" fmla="val 25000"/>
              <a:gd name="adj4" fmla="val 5882"/>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64" name="Rectangle: Rounded Corners 163">
            <a:extLst>
              <a:ext uri="{FF2B5EF4-FFF2-40B4-BE49-F238E27FC236}">
                <a16:creationId xmlns:a16="http://schemas.microsoft.com/office/drawing/2014/main" id="{59A684ED-EDDA-4702-AE2D-3A6BAAA189A1}"/>
              </a:ext>
            </a:extLst>
          </p:cNvPr>
          <p:cNvSpPr/>
          <p:nvPr/>
        </p:nvSpPr>
        <p:spPr bwMode="auto">
          <a:xfrm>
            <a:off x="4048207" y="6253353"/>
            <a:ext cx="228600" cy="36576"/>
          </a:xfrm>
          <a:prstGeom prst="roundRect">
            <a:avLst>
              <a:gd name="adj" fmla="val 5000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65" name="Rectangle 164">
            <a:extLst>
              <a:ext uri="{FF2B5EF4-FFF2-40B4-BE49-F238E27FC236}">
                <a16:creationId xmlns:a16="http://schemas.microsoft.com/office/drawing/2014/main" id="{62A5402A-BE6E-4C27-B842-8495FAFD5765}"/>
              </a:ext>
            </a:extLst>
          </p:cNvPr>
          <p:cNvSpPr/>
          <p:nvPr/>
        </p:nvSpPr>
        <p:spPr>
          <a:xfrm>
            <a:off x="1124784" y="5549874"/>
            <a:ext cx="3152023" cy="553998"/>
          </a:xfrm>
          <a:prstGeom prst="rect">
            <a:avLst/>
          </a:prstGeom>
        </p:spPr>
        <p:txBody>
          <a:bodyPr wrap="square" lIns="0" tIns="0" rIns="0" bIns="0" anchor="t">
            <a:spAutoFit/>
          </a:bodyPr>
          <a:lstStyle/>
          <a:p>
            <a:pPr algn="l" rtl="0" fontAlgn="base">
              <a:spcBef>
                <a:spcPts val="600"/>
              </a:spcBef>
              <a:buSzPct val="100000"/>
              <a:defRPr/>
            </a:pPr>
            <a:r>
              <a:rPr lang="fr-fr" sz="1200" b="0" i="0" u="none" baseline="0" dirty="0">
                <a:cs typeface="Segoe UI"/>
              </a:rPr>
              <a:t>Gérez de façon digitale les parties prenantes </a:t>
            </a:r>
            <a:br>
              <a:rPr lang="fr-fr" sz="1200" b="0" i="0" u="none" baseline="0" dirty="0">
                <a:cs typeface="Segoe UI"/>
              </a:rPr>
            </a:br>
            <a:r>
              <a:rPr lang="fr-fr" sz="1200" b="0" i="0" u="none" baseline="0" dirty="0">
                <a:cs typeface="Segoe UI"/>
              </a:rPr>
              <a:t>à un projet, les outils, les budgets, les révisions et le feedback</a:t>
            </a:r>
          </a:p>
        </p:txBody>
      </p:sp>
      <p:sp>
        <p:nvSpPr>
          <p:cNvPr id="167" name="Oval 166">
            <a:extLst>
              <a:ext uri="{FF2B5EF4-FFF2-40B4-BE49-F238E27FC236}">
                <a16:creationId xmlns:a16="http://schemas.microsoft.com/office/drawing/2014/main" id="{A969E581-8878-4F3A-98F4-2FBEA25B9C8F}"/>
              </a:ext>
            </a:extLst>
          </p:cNvPr>
          <p:cNvSpPr/>
          <p:nvPr/>
        </p:nvSpPr>
        <p:spPr bwMode="auto">
          <a:xfrm>
            <a:off x="588263" y="4901401"/>
            <a:ext cx="669026" cy="669026"/>
          </a:xfrm>
          <a:prstGeom prst="ellipse">
            <a:avLst/>
          </a:prstGeom>
          <a:solidFill>
            <a:schemeClr val="bg1"/>
          </a:solidFill>
          <a:ln w="6350">
            <a:solidFill>
              <a:srgbClr val="4B53B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68" name="Oval 167">
            <a:extLst>
              <a:ext uri="{FF2B5EF4-FFF2-40B4-BE49-F238E27FC236}">
                <a16:creationId xmlns:a16="http://schemas.microsoft.com/office/drawing/2014/main" id="{29DCD780-9BA0-4766-89AF-B59D92F222F2}"/>
              </a:ext>
            </a:extLst>
          </p:cNvPr>
          <p:cNvSpPr/>
          <p:nvPr/>
        </p:nvSpPr>
        <p:spPr bwMode="auto">
          <a:xfrm>
            <a:off x="623422" y="4936560"/>
            <a:ext cx="598708" cy="598708"/>
          </a:xfrm>
          <a:prstGeom prst="ellipse">
            <a:avLst/>
          </a:prstGeom>
          <a:solidFill>
            <a:schemeClr val="bg1"/>
          </a:solidFill>
          <a:ln w="3175">
            <a:solidFill>
              <a:schemeClr val="bg1">
                <a:lumMod val="9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70" name="TextBox 169">
            <a:extLst>
              <a:ext uri="{FF2B5EF4-FFF2-40B4-BE49-F238E27FC236}">
                <a16:creationId xmlns:a16="http://schemas.microsoft.com/office/drawing/2014/main" id="{3ACD919C-8F7A-4993-AE85-BE0209318D9D}"/>
              </a:ext>
            </a:extLst>
          </p:cNvPr>
          <p:cNvSpPr txBox="1"/>
          <p:nvPr/>
        </p:nvSpPr>
        <p:spPr>
          <a:xfrm>
            <a:off x="1421297" y="5112804"/>
            <a:ext cx="1607620" cy="246221"/>
          </a:xfrm>
          <a:prstGeom prst="rect">
            <a:avLst/>
          </a:prstGeom>
          <a:noFill/>
        </p:spPr>
        <p:txBody>
          <a:bodyPr wrap="none" lIns="0" tIns="0" rIns="0" bIns="0" rtlCol="0" anchor="t">
            <a:spAutoFit/>
          </a:bodyPr>
          <a:lstStyle/>
          <a:p>
            <a:pPr algn="l" rtl="0"/>
            <a:r>
              <a:rPr lang="fr-fr" sz="1600" b="0" i="0" u="none" baseline="0" dirty="0">
                <a:solidFill>
                  <a:schemeClr val="bg1"/>
                </a:solidFill>
                <a:latin typeface="Segoe UI Semibold"/>
                <a:cs typeface="Segoe UI Semibold"/>
              </a:rPr>
              <a:t>Gestion de projet</a:t>
            </a:r>
          </a:p>
        </p:txBody>
      </p:sp>
      <p:grpSp>
        <p:nvGrpSpPr>
          <p:cNvPr id="18" name="Group 17">
            <a:extLst>
              <a:ext uri="{FF2B5EF4-FFF2-40B4-BE49-F238E27FC236}">
                <a16:creationId xmlns:a16="http://schemas.microsoft.com/office/drawing/2014/main" id="{C75B2BD9-B9B0-48E6-9162-23B7F9B6FF39}"/>
              </a:ext>
            </a:extLst>
          </p:cNvPr>
          <p:cNvGrpSpPr/>
          <p:nvPr/>
        </p:nvGrpSpPr>
        <p:grpSpPr>
          <a:xfrm>
            <a:off x="588263" y="1167301"/>
            <a:ext cx="669026" cy="669026"/>
            <a:chOff x="588263" y="1167301"/>
            <a:chExt cx="669026" cy="669026"/>
          </a:xfrm>
        </p:grpSpPr>
        <p:sp>
          <p:nvSpPr>
            <p:cNvPr id="93" name="Oval 92">
              <a:extLst>
                <a:ext uri="{FF2B5EF4-FFF2-40B4-BE49-F238E27FC236}">
                  <a16:creationId xmlns:a16="http://schemas.microsoft.com/office/drawing/2014/main" id="{CA85B23C-2BEC-452B-AF55-B171385BC4D3}"/>
                </a:ext>
              </a:extLst>
            </p:cNvPr>
            <p:cNvSpPr/>
            <p:nvPr/>
          </p:nvSpPr>
          <p:spPr bwMode="auto">
            <a:xfrm>
              <a:off x="588263" y="1167301"/>
              <a:ext cx="669026" cy="669026"/>
            </a:xfrm>
            <a:prstGeom prst="ellipse">
              <a:avLst/>
            </a:prstGeom>
            <a:solidFill>
              <a:schemeClr val="bg1"/>
            </a:solidFill>
            <a:ln w="6350">
              <a:solidFill>
                <a:srgbClr val="4B53B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94" name="Oval 93">
              <a:extLst>
                <a:ext uri="{FF2B5EF4-FFF2-40B4-BE49-F238E27FC236}">
                  <a16:creationId xmlns:a16="http://schemas.microsoft.com/office/drawing/2014/main" id="{1CBE9970-BC49-4095-A92F-1418375B9BF7}"/>
                </a:ext>
              </a:extLst>
            </p:cNvPr>
            <p:cNvSpPr/>
            <p:nvPr/>
          </p:nvSpPr>
          <p:spPr bwMode="auto">
            <a:xfrm>
              <a:off x="623422" y="1202460"/>
              <a:ext cx="598708" cy="598708"/>
            </a:xfrm>
            <a:prstGeom prst="ellipse">
              <a:avLst/>
            </a:prstGeom>
            <a:solidFill>
              <a:schemeClr val="bg1"/>
            </a:solidFill>
            <a:ln w="3175">
              <a:solidFill>
                <a:srgbClr val="4B53B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87" name="Telemarketer_E7B9" title="Icon of a person wearing a headset">
              <a:extLst>
                <a:ext uri="{FF2B5EF4-FFF2-40B4-BE49-F238E27FC236}">
                  <a16:creationId xmlns:a16="http://schemas.microsoft.com/office/drawing/2014/main" id="{63BD353C-514C-4DC2-A9E4-087D3B0B1A7C}"/>
                </a:ext>
              </a:extLst>
            </p:cNvPr>
            <p:cNvSpPr>
              <a:spLocks noChangeAspect="1" noEditPoints="1"/>
            </p:cNvSpPr>
            <p:nvPr/>
          </p:nvSpPr>
          <p:spPr bwMode="auto">
            <a:xfrm>
              <a:off x="788602" y="1341794"/>
              <a:ext cx="268348" cy="320040"/>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algn="ctr" defTabSz="878548" rtl="0" fontAlgn="base">
                <a:defRPr/>
              </a:pPr>
              <a:endParaRPr lang="fr-fr" sz="1600" dirty="0">
                <a:solidFill>
                  <a:srgbClr val="505050"/>
                </a:solidFill>
                <a:latin typeface="Segoe UI Semibold"/>
                <a:cs typeface="Segoe UI Semibold"/>
              </a:endParaRPr>
            </a:p>
          </p:txBody>
        </p:sp>
      </p:grpSp>
      <p:sp>
        <p:nvSpPr>
          <p:cNvPr id="188" name="ShoppingCart_E7BF" title="Icon of a shopping cart">
            <a:extLst>
              <a:ext uri="{FF2B5EF4-FFF2-40B4-BE49-F238E27FC236}">
                <a16:creationId xmlns:a16="http://schemas.microsoft.com/office/drawing/2014/main" id="{9ECC38A7-3F29-4A43-9EA7-E6AFA81B1A38}"/>
              </a:ext>
            </a:extLst>
          </p:cNvPr>
          <p:cNvSpPr>
            <a:spLocks noChangeAspect="1" noEditPoints="1"/>
          </p:cNvSpPr>
          <p:nvPr/>
        </p:nvSpPr>
        <p:spPr bwMode="auto">
          <a:xfrm>
            <a:off x="4357304" y="1364654"/>
            <a:ext cx="322594" cy="274320"/>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algn="ctr" defTabSz="878548" rtl="0" fontAlgn="base">
              <a:defRPr/>
            </a:pPr>
            <a:endParaRPr lang="fr-fr" sz="900" dirty="0">
              <a:gradFill>
                <a:gsLst>
                  <a:gs pos="0">
                    <a:srgbClr val="505050"/>
                  </a:gs>
                  <a:gs pos="100000">
                    <a:srgbClr val="505050"/>
                  </a:gs>
                </a:gsLst>
                <a:lin ang="5400000" scaled="1"/>
              </a:gradFill>
              <a:latin typeface="Segoe UI Semibold"/>
              <a:cs typeface="Segoe UI Semibold"/>
            </a:endParaRPr>
          </a:p>
        </p:txBody>
      </p:sp>
      <p:sp>
        <p:nvSpPr>
          <p:cNvPr id="189" name="graph_9" title="Icon of a line chart with connected circles at varying points">
            <a:extLst>
              <a:ext uri="{FF2B5EF4-FFF2-40B4-BE49-F238E27FC236}">
                <a16:creationId xmlns:a16="http://schemas.microsoft.com/office/drawing/2014/main" id="{CAC72B3F-2142-4CA0-B9F1-B0DF0C0077B0}"/>
              </a:ext>
            </a:extLst>
          </p:cNvPr>
          <p:cNvSpPr>
            <a:spLocks noChangeAspect="1" noEditPoints="1"/>
          </p:cNvSpPr>
          <p:nvPr/>
        </p:nvSpPr>
        <p:spPr bwMode="auto">
          <a:xfrm>
            <a:off x="7962422" y="1364654"/>
            <a:ext cx="304008" cy="274320"/>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algn="ctr" defTabSz="878548" rtl="0" fontAlgn="base">
              <a:defRPr/>
            </a:pPr>
            <a:endParaRPr lang="fr-fr" sz="1600" dirty="0">
              <a:gradFill>
                <a:gsLst>
                  <a:gs pos="0">
                    <a:srgbClr val="505050"/>
                  </a:gs>
                  <a:gs pos="100000">
                    <a:srgbClr val="505050"/>
                  </a:gs>
                </a:gsLst>
              </a:gradFill>
              <a:latin typeface="Segoe UI Semibold"/>
              <a:cs typeface="Segoe UI Semibold"/>
            </a:endParaRPr>
          </a:p>
        </p:txBody>
      </p:sp>
      <p:sp>
        <p:nvSpPr>
          <p:cNvPr id="190" name="Freeform 96" title="Icon of a gear with a wrench">
            <a:extLst>
              <a:ext uri="{FF2B5EF4-FFF2-40B4-BE49-F238E27FC236}">
                <a16:creationId xmlns:a16="http://schemas.microsoft.com/office/drawing/2014/main" id="{BDBF827C-7C27-431F-9413-8BA157C564C4}"/>
              </a:ext>
            </a:extLst>
          </p:cNvPr>
          <p:cNvSpPr>
            <a:spLocks noChangeAspect="1" noEditPoints="1"/>
          </p:cNvSpPr>
          <p:nvPr/>
        </p:nvSpPr>
        <p:spPr bwMode="auto">
          <a:xfrm>
            <a:off x="7972385" y="3349493"/>
            <a:ext cx="347582" cy="3200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algn="ctr" defTabSz="878548" rtl="0" fontAlgn="base">
              <a:defRPr/>
            </a:pPr>
            <a:endParaRPr lang="fr-fr" sz="1600" dirty="0">
              <a:gradFill>
                <a:gsLst>
                  <a:gs pos="0">
                    <a:srgbClr val="505050"/>
                  </a:gs>
                  <a:gs pos="100000">
                    <a:srgbClr val="505050"/>
                  </a:gs>
                </a:gsLst>
              </a:gradFill>
              <a:latin typeface="Segoe UI Semibold"/>
              <a:cs typeface="Segoe UI Semibold"/>
            </a:endParaRPr>
          </a:p>
        </p:txBody>
      </p:sp>
      <p:sp>
        <p:nvSpPr>
          <p:cNvPr id="191" name="MeetingPlanner_EBF2" title="Icon of a person in front of a calendar">
            <a:extLst>
              <a:ext uri="{FF2B5EF4-FFF2-40B4-BE49-F238E27FC236}">
                <a16:creationId xmlns:a16="http://schemas.microsoft.com/office/drawing/2014/main" id="{77D37AFF-4297-4177-AE85-E5D5EB05397C}"/>
              </a:ext>
            </a:extLst>
          </p:cNvPr>
          <p:cNvSpPr>
            <a:spLocks noChangeAspect="1" noEditPoints="1"/>
          </p:cNvSpPr>
          <p:nvPr/>
        </p:nvSpPr>
        <p:spPr bwMode="auto">
          <a:xfrm>
            <a:off x="781422" y="5085038"/>
            <a:ext cx="282709" cy="301752"/>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algn="ctr" defTabSz="878548" rtl="0" fontAlgn="base">
              <a:defRPr/>
            </a:pPr>
            <a:endParaRPr lang="fr-fr" sz="1600" dirty="0">
              <a:solidFill>
                <a:srgbClr val="505050"/>
              </a:solidFill>
              <a:latin typeface="Segoe UI Semibold"/>
              <a:cs typeface="Segoe UI Semibold"/>
            </a:endParaRPr>
          </a:p>
        </p:txBody>
      </p:sp>
      <p:sp>
        <p:nvSpPr>
          <p:cNvPr id="192" name="Trackers_EADF" title="Icon of a clipboard with a checklist on it">
            <a:extLst>
              <a:ext uri="{FF2B5EF4-FFF2-40B4-BE49-F238E27FC236}">
                <a16:creationId xmlns:a16="http://schemas.microsoft.com/office/drawing/2014/main" id="{D1608B96-AEFE-4E66-8E19-EC2B2A5DB659}"/>
              </a:ext>
            </a:extLst>
          </p:cNvPr>
          <p:cNvSpPr>
            <a:spLocks noChangeAspect="1" noEditPoints="1"/>
          </p:cNvSpPr>
          <p:nvPr/>
        </p:nvSpPr>
        <p:spPr bwMode="auto">
          <a:xfrm>
            <a:off x="4401245" y="3349493"/>
            <a:ext cx="234712" cy="32004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algn="ctr" defTabSz="878548" rtl="0" fontAlgn="base">
              <a:defRPr/>
            </a:pPr>
            <a:endParaRPr lang="fr-fr" sz="1600" dirty="0">
              <a:solidFill>
                <a:srgbClr val="505050"/>
              </a:solidFill>
              <a:latin typeface="Segoe UI Semibold"/>
              <a:cs typeface="Segoe UI Semibold"/>
            </a:endParaRPr>
          </a:p>
        </p:txBody>
      </p:sp>
      <p:sp>
        <p:nvSpPr>
          <p:cNvPr id="193" name="people_12" title="Icon of three people">
            <a:extLst>
              <a:ext uri="{FF2B5EF4-FFF2-40B4-BE49-F238E27FC236}">
                <a16:creationId xmlns:a16="http://schemas.microsoft.com/office/drawing/2014/main" id="{63A0524B-F22B-4A12-B350-D62D9EE23F9D}"/>
              </a:ext>
            </a:extLst>
          </p:cNvPr>
          <p:cNvSpPr>
            <a:spLocks noChangeAspect="1" noEditPoints="1"/>
          </p:cNvSpPr>
          <p:nvPr/>
        </p:nvSpPr>
        <p:spPr bwMode="auto">
          <a:xfrm>
            <a:off x="762013" y="3372353"/>
            <a:ext cx="321527" cy="27432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algn="ctr" defTabSz="878548" rtl="0" fontAlgn="base">
              <a:defRPr/>
            </a:pPr>
            <a:endParaRPr lang="fr-fr" sz="1600" dirty="0">
              <a:solidFill>
                <a:srgbClr val="505050"/>
              </a:solidFill>
              <a:latin typeface="Segoe UI Semibold"/>
              <a:cs typeface="Segoe UI Semibold"/>
            </a:endParaRPr>
          </a:p>
        </p:txBody>
      </p:sp>
      <p:sp>
        <p:nvSpPr>
          <p:cNvPr id="17" name="Rectangle: Top Corners Rounded 16">
            <a:extLst>
              <a:ext uri="{FF2B5EF4-FFF2-40B4-BE49-F238E27FC236}">
                <a16:creationId xmlns:a16="http://schemas.microsoft.com/office/drawing/2014/main" id="{284DCCA5-62DF-4C48-8037-B6C837E67E27}"/>
              </a:ext>
            </a:extLst>
          </p:cNvPr>
          <p:cNvSpPr/>
          <p:nvPr/>
        </p:nvSpPr>
        <p:spPr bwMode="auto">
          <a:xfrm rot="16200000">
            <a:off x="9618747" y="3716676"/>
            <a:ext cx="599230" cy="4547275"/>
          </a:xfrm>
          <a:prstGeom prst="round2SameRect">
            <a:avLst>
              <a:gd name="adj1" fmla="val 8672"/>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94" name="Rectangle 193">
            <a:extLst>
              <a:ext uri="{FF2B5EF4-FFF2-40B4-BE49-F238E27FC236}">
                <a16:creationId xmlns:a16="http://schemas.microsoft.com/office/drawing/2014/main" id="{A496A4E8-D001-48F6-B1CA-A7C82F826593}"/>
              </a:ext>
            </a:extLst>
          </p:cNvPr>
          <p:cNvSpPr/>
          <p:nvPr/>
        </p:nvSpPr>
        <p:spPr>
          <a:xfrm>
            <a:off x="7815072" y="5774870"/>
            <a:ext cx="3794316" cy="430887"/>
          </a:xfrm>
          <a:prstGeom prst="rect">
            <a:avLst/>
          </a:prstGeom>
        </p:spPr>
        <p:txBody>
          <a:bodyPr wrap="square" lIns="0" tIns="0" rIns="0" bIns="0" anchor="b">
            <a:spAutoFit/>
          </a:bodyPr>
          <a:lstStyle/>
          <a:p>
            <a:pPr algn="r" defTabSz="914016" rtl="0">
              <a:defRPr/>
            </a:pPr>
            <a:r>
              <a:rPr lang="fr-fr" sz="1400" b="0" i="1" u="none" baseline="0" dirty="0"/>
              <a:t>Vous trouverez des conseils sur ces scénarios et sur d</a:t>
            </a:r>
            <a:r>
              <a:rPr lang="fr-FR" sz="1400" b="0" i="1" u="none" baseline="0" dirty="0"/>
              <a:t>’</a:t>
            </a:r>
            <a:r>
              <a:rPr lang="fr-fr" sz="1400" b="0" i="1" u="none" baseline="0" dirty="0"/>
              <a:t>autres dans </a:t>
            </a:r>
            <a:r>
              <a:rPr lang="fr-fr" sz="1400" b="0" i="1" u="none" baseline="0" dirty="0">
                <a:solidFill>
                  <a:srgbClr val="4B53BC"/>
                </a:solidFill>
                <a:hlinkClick r:id="rId3">
                  <a:extLst>
                    <a:ext uri="{A12FA001-AC4F-418D-AE19-62706E023703}">
                      <ahyp:hlinkClr xmlns:ahyp="http://schemas.microsoft.com/office/drawing/2018/hyperlinkcolor" val="tx"/>
                    </a:ext>
                  </a:extLst>
                </a:hlinkClick>
              </a:rPr>
              <a:t>FastTrack Productivity Library</a:t>
            </a:r>
            <a:endParaRPr lang="fr-fr" sz="1400" i="1">
              <a:solidFill>
                <a:srgbClr val="4B53BC"/>
              </a:solidFill>
              <a:cs typeface="Segoe UI"/>
            </a:endParaRPr>
          </a:p>
        </p:txBody>
      </p:sp>
    </p:spTree>
    <p:extLst>
      <p:ext uri="{BB962C8B-B14F-4D97-AF65-F5344CB8AC3E}">
        <p14:creationId xmlns:p14="http://schemas.microsoft.com/office/powerpoint/2010/main" val="1974128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BD5A368-CD78-4077-A7F4-972C5A563BEA}"/>
              </a:ext>
            </a:extLst>
          </p:cNvPr>
          <p:cNvSpPr/>
          <p:nvPr/>
        </p:nvSpPr>
        <p:spPr bwMode="auto">
          <a:xfrm>
            <a:off x="-2" y="0"/>
            <a:ext cx="4356101" cy="6858000"/>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5B8CC845-66BF-4306-B2E1-F3B8F695FB1F}"/>
              </a:ext>
            </a:extLst>
          </p:cNvPr>
          <p:cNvSpPr>
            <a:spLocks noGrp="1"/>
          </p:cNvSpPr>
          <p:nvPr>
            <p:ph type="title" idx="4294967295"/>
          </p:nvPr>
        </p:nvSpPr>
        <p:spPr>
          <a:xfrm>
            <a:off x="595184" y="457200"/>
            <a:ext cx="3538537" cy="1477328"/>
          </a:xfrm>
        </p:spPr>
        <p:txBody>
          <a:bodyPr wrap="square">
            <a:spAutoFit/>
          </a:bodyPr>
          <a:lstStyle/>
          <a:p>
            <a:pPr algn="l" rtl="0"/>
            <a:r>
              <a:rPr lang="fr-fr" sz="3200" b="0" i="0" u="none" baseline="0" dirty="0">
                <a:solidFill>
                  <a:schemeClr val="bg1"/>
                </a:solidFill>
                <a:cs typeface="Segoe UI"/>
              </a:rPr>
              <a:t>Microsoft Teams </a:t>
            </a:r>
            <a:br>
              <a:rPr lang="fr-fr" sz="3200" dirty="0"/>
            </a:br>
            <a:r>
              <a:rPr lang="fr-fr" sz="3200" b="0" i="0" u="none" baseline="0" dirty="0">
                <a:solidFill>
                  <a:schemeClr val="bg1"/>
                </a:solidFill>
                <a:cs typeface="Segoe UI"/>
              </a:rPr>
              <a:t>est la plateforme de travail en équipe</a:t>
            </a:r>
            <a:endParaRPr lang="fr-fr" sz="3200" dirty="0">
              <a:solidFill>
                <a:schemeClr val="bg1"/>
              </a:solidFill>
              <a:cs typeface="Segoe UI"/>
            </a:endParaRPr>
          </a:p>
        </p:txBody>
      </p:sp>
      <p:sp>
        <p:nvSpPr>
          <p:cNvPr id="5" name="Rectangle 4">
            <a:extLst>
              <a:ext uri="{FF2B5EF4-FFF2-40B4-BE49-F238E27FC236}">
                <a16:creationId xmlns:a16="http://schemas.microsoft.com/office/drawing/2014/main" id="{3C8F9765-3D30-42DF-AF50-91793B02338B}"/>
              </a:ext>
            </a:extLst>
          </p:cNvPr>
          <p:cNvSpPr/>
          <p:nvPr/>
        </p:nvSpPr>
        <p:spPr bwMode="auto">
          <a:xfrm>
            <a:off x="595184" y="2355850"/>
            <a:ext cx="3200400" cy="457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9" name="Rectangle 28">
            <a:extLst>
              <a:ext uri="{FF2B5EF4-FFF2-40B4-BE49-F238E27FC236}">
                <a16:creationId xmlns:a16="http://schemas.microsoft.com/office/drawing/2014/main" id="{2D6652A8-B940-435C-9117-FBFA2D872E0B}"/>
              </a:ext>
            </a:extLst>
          </p:cNvPr>
          <p:cNvSpPr/>
          <p:nvPr/>
        </p:nvSpPr>
        <p:spPr>
          <a:xfrm>
            <a:off x="572734" y="3947733"/>
            <a:ext cx="3566130" cy="2215991"/>
          </a:xfrm>
          <a:prstGeom prst="rect">
            <a:avLst/>
          </a:prstGeom>
        </p:spPr>
        <p:txBody>
          <a:bodyPr wrap="square" lIns="0" tIns="0" rIns="0" bIns="0" anchor="ctr">
            <a:spAutoFit/>
          </a:bodyPr>
          <a:lstStyle/>
          <a:p>
            <a:r>
              <a:rPr lang="fr-fr" sz="2400" b="0" i="0" u="none" baseline="0" dirty="0">
                <a:solidFill>
                  <a:schemeClr val="bg1"/>
                </a:solidFill>
                <a:cs typeface="Segoe UI"/>
              </a:rPr>
              <a:t>Tout ce qu</a:t>
            </a:r>
            <a:r>
              <a:rPr lang="fr-FR" sz="2400" b="0" i="0" u="none" baseline="0" dirty="0">
                <a:solidFill>
                  <a:schemeClr val="bg1"/>
                </a:solidFill>
                <a:cs typeface="Segoe UI"/>
              </a:rPr>
              <a:t>’</a:t>
            </a:r>
            <a:r>
              <a:rPr lang="fr-fr" sz="2400" b="0" i="0" u="none" baseline="0" dirty="0">
                <a:solidFill>
                  <a:schemeClr val="bg1"/>
                </a:solidFill>
                <a:cs typeface="Segoe UI"/>
              </a:rPr>
              <a:t>il vous </a:t>
            </a:r>
            <a:br>
              <a:rPr lang="fr-fr" sz="2400" b="0" i="0" u="none" baseline="0" dirty="0">
                <a:solidFill>
                  <a:schemeClr val="bg1"/>
                </a:solidFill>
                <a:cs typeface="Segoe UI"/>
              </a:rPr>
            </a:br>
            <a:r>
              <a:rPr lang="fr-fr" sz="2400" b="0" i="0" u="none" baseline="0" dirty="0">
                <a:solidFill>
                  <a:schemeClr val="bg1"/>
                </a:solidFill>
                <a:cs typeface="Segoe UI"/>
              </a:rPr>
              <a:t>faut pour votre environnement </a:t>
            </a:r>
            <a:br>
              <a:rPr lang="fr-fr" sz="2400" b="0" i="0" u="none" baseline="0" dirty="0">
                <a:solidFill>
                  <a:schemeClr val="bg1"/>
                </a:solidFill>
                <a:cs typeface="Segoe UI"/>
              </a:rPr>
            </a:br>
            <a:r>
              <a:rPr lang="fr-fr" sz="2400" b="0" i="0" u="none" baseline="0" dirty="0">
                <a:solidFill>
                  <a:schemeClr val="bg1"/>
                </a:solidFill>
                <a:cs typeface="Segoe UI"/>
              </a:rPr>
              <a:t>de travail.</a:t>
            </a:r>
            <a:r>
              <a:rPr lang="fr-fr" sz="2400" dirty="0">
                <a:solidFill>
                  <a:schemeClr val="bg1"/>
                </a:solidFill>
                <a:ea typeface="+mj-lt"/>
                <a:cs typeface="Segoe UI"/>
              </a:rPr>
              <a:t> </a:t>
            </a:r>
            <a:endParaRPr lang="fr-fr" sz="2400" b="0" i="0" u="none" baseline="0" dirty="0">
              <a:solidFill>
                <a:schemeClr val="bg1"/>
              </a:solidFill>
              <a:ea typeface="+mj-lt"/>
              <a:cs typeface="Segoe UI"/>
            </a:endParaRPr>
          </a:p>
          <a:p>
            <a:pPr algn="l" rtl="0"/>
            <a:r>
              <a:rPr lang="fr-fr" sz="2400" b="0" i="1" u="none" baseline="0" dirty="0">
                <a:solidFill>
                  <a:schemeClr val="bg1"/>
                </a:solidFill>
                <a:ea typeface="+mj-lt"/>
                <a:cs typeface="Segoe UI"/>
              </a:rPr>
              <a:t>E</a:t>
            </a:r>
            <a:r>
              <a:rPr lang="fr-fr" sz="2400" b="0" i="1" u="none" baseline="0" dirty="0">
                <a:solidFill>
                  <a:schemeClr val="bg1"/>
                </a:solidFill>
                <a:ea typeface="+mj-lt"/>
                <a:cs typeface="+mj-lt"/>
              </a:rPr>
              <a:t>n un seul endroit.</a:t>
            </a:r>
            <a:br>
              <a:rPr lang="fr-fr" sz="2400" dirty="0">
                <a:ea typeface="+mj-lt"/>
                <a:cs typeface="+mj-lt"/>
              </a:rPr>
            </a:br>
            <a:r>
              <a:rPr lang="fr-fr" sz="2400" b="0" i="0" u="none" baseline="0" dirty="0">
                <a:solidFill>
                  <a:schemeClr val="bg1"/>
                </a:solidFill>
                <a:latin typeface="+mj-lt"/>
                <a:ea typeface="+mj-lt"/>
                <a:cs typeface="+mj-lt"/>
              </a:rPr>
              <a:t>Où que vous soyez.</a:t>
            </a:r>
            <a:endParaRPr lang="fr-fr" sz="2400">
              <a:solidFill>
                <a:schemeClr val="bg1"/>
              </a:solidFill>
              <a:latin typeface="+mj-lt"/>
              <a:cs typeface="Segoe UI Semibold"/>
            </a:endParaRPr>
          </a:p>
        </p:txBody>
      </p:sp>
      <p:sp>
        <p:nvSpPr>
          <p:cNvPr id="31" name="IoT" title="Icon of five circles that all connect to a center circle">
            <a:extLst>
              <a:ext uri="{FF2B5EF4-FFF2-40B4-BE49-F238E27FC236}">
                <a16:creationId xmlns:a16="http://schemas.microsoft.com/office/drawing/2014/main" id="{A8B5ACE9-0302-41E2-91FC-A0846A40BB3C}"/>
              </a:ext>
            </a:extLst>
          </p:cNvPr>
          <p:cNvSpPr>
            <a:spLocks noChangeAspect="1" noEditPoints="1"/>
          </p:cNvSpPr>
          <p:nvPr/>
        </p:nvSpPr>
        <p:spPr bwMode="auto">
          <a:xfrm>
            <a:off x="572733" y="3102674"/>
            <a:ext cx="641192" cy="642219"/>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gradFill>
                <a:gsLst>
                  <a:gs pos="0">
                    <a:srgbClr val="505050"/>
                  </a:gs>
                  <a:gs pos="100000">
                    <a:srgbClr val="505050"/>
                  </a:gs>
                </a:gsLst>
              </a:gradFill>
            </a:endParaRPr>
          </a:p>
        </p:txBody>
      </p:sp>
      <p:grpSp>
        <p:nvGrpSpPr>
          <p:cNvPr id="11" name="Group 10">
            <a:extLst>
              <a:ext uri="{FF2B5EF4-FFF2-40B4-BE49-F238E27FC236}">
                <a16:creationId xmlns:a16="http://schemas.microsoft.com/office/drawing/2014/main" id="{CE22CFA0-19CF-478F-AB2C-0B1D6AF200D2}"/>
              </a:ext>
            </a:extLst>
          </p:cNvPr>
          <p:cNvGrpSpPr/>
          <p:nvPr/>
        </p:nvGrpSpPr>
        <p:grpSpPr>
          <a:xfrm>
            <a:off x="5733935" y="593345"/>
            <a:ext cx="5080228" cy="5671310"/>
            <a:chOff x="5442630" y="593345"/>
            <a:chExt cx="5080228" cy="5671310"/>
          </a:xfrm>
        </p:grpSpPr>
        <p:grpSp>
          <p:nvGrpSpPr>
            <p:cNvPr id="7" name="Group 6">
              <a:extLst>
                <a:ext uri="{FF2B5EF4-FFF2-40B4-BE49-F238E27FC236}">
                  <a16:creationId xmlns:a16="http://schemas.microsoft.com/office/drawing/2014/main" id="{35C7EDD3-1145-42A3-85E2-0C89FA5210B6}"/>
                </a:ext>
              </a:extLst>
            </p:cNvPr>
            <p:cNvGrpSpPr/>
            <p:nvPr/>
          </p:nvGrpSpPr>
          <p:grpSpPr>
            <a:xfrm>
              <a:off x="5785076" y="1231333"/>
              <a:ext cx="4395334" cy="4395334"/>
              <a:chOff x="6357825" y="1390990"/>
              <a:chExt cx="4395334" cy="4395334"/>
            </a:xfrm>
          </p:grpSpPr>
          <p:sp>
            <p:nvSpPr>
              <p:cNvPr id="33" name="Oval 32">
                <a:extLst>
                  <a:ext uri="{FF2B5EF4-FFF2-40B4-BE49-F238E27FC236}">
                    <a16:creationId xmlns:a16="http://schemas.microsoft.com/office/drawing/2014/main" id="{07CCDC40-6620-4923-A435-6E3E143776C2}"/>
                  </a:ext>
                </a:extLst>
              </p:cNvPr>
              <p:cNvSpPr/>
              <p:nvPr>
                <p:custDataLst>
                  <p:tags r:id="rId7"/>
                </p:custDataLst>
              </p:nvPr>
            </p:nvSpPr>
            <p:spPr bwMode="auto">
              <a:xfrm>
                <a:off x="6357825" y="1390990"/>
                <a:ext cx="4395334" cy="4395334"/>
              </a:xfrm>
              <a:prstGeom prst="ellipse">
                <a:avLst/>
              </a:prstGeom>
              <a:solidFill>
                <a:schemeClr val="bg1"/>
              </a:solidFill>
              <a:ln w="12700">
                <a:solidFill>
                  <a:srgbClr val="A6AADE"/>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rtl="0" fontAlgn="base">
                  <a:spcBef>
                    <a:spcPct val="0"/>
                  </a:spcBef>
                  <a:spcAft>
                    <a:spcPct val="0"/>
                  </a:spcAft>
                </a:pPr>
                <a:endParaRPr lang="fr-fr" sz="1400" dirty="0">
                  <a:solidFill>
                    <a:srgbClr val="FFFFFF"/>
                  </a:solidFill>
                  <a:ea typeface="Segoe UI" pitchFamily="34" charset="0"/>
                  <a:cs typeface="Segoe UI" pitchFamily="34" charset="0"/>
                </a:endParaRPr>
              </a:p>
            </p:txBody>
          </p:sp>
          <p:sp>
            <p:nvSpPr>
              <p:cNvPr id="32" name="Oval 31">
                <a:extLst>
                  <a:ext uri="{FF2B5EF4-FFF2-40B4-BE49-F238E27FC236}">
                    <a16:creationId xmlns:a16="http://schemas.microsoft.com/office/drawing/2014/main" id="{621DD68A-03AD-46AA-9E8D-87711C3B2240}"/>
                  </a:ext>
                </a:extLst>
              </p:cNvPr>
              <p:cNvSpPr/>
              <p:nvPr>
                <p:custDataLst>
                  <p:tags r:id="rId8"/>
                </p:custDataLst>
              </p:nvPr>
            </p:nvSpPr>
            <p:spPr bwMode="auto">
              <a:xfrm>
                <a:off x="7390721" y="2423886"/>
                <a:ext cx="2329542" cy="2329542"/>
              </a:xfrm>
              <a:prstGeom prst="ellipse">
                <a:avLst/>
              </a:prstGeom>
              <a:solidFill>
                <a:srgbClr val="4B53BC"/>
              </a:solidFill>
              <a:ln w="12700">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rtl="0" fontAlgn="base">
                  <a:spcBef>
                    <a:spcPct val="0"/>
                  </a:spcBef>
                  <a:spcAft>
                    <a:spcPct val="0"/>
                  </a:spcAft>
                </a:pPr>
                <a:r>
                  <a:rPr lang="fr-fr" sz="2400" b="0" i="0" u="none" baseline="0" dirty="0">
                    <a:solidFill>
                      <a:srgbClr val="FFFFFF"/>
                    </a:solidFill>
                    <a:latin typeface="Segoe UI Semibold"/>
                    <a:ea typeface="Segoe UI" pitchFamily="34" charset="0"/>
                    <a:cs typeface="Segoe UI Semibold"/>
                  </a:rPr>
                  <a:t>Microsoft</a:t>
                </a:r>
                <a:br>
                  <a:rPr lang="fr-fr" sz="2400" dirty="0">
                    <a:latin typeface="Segoe UI Semibold" panose="020B0702040204020203" pitchFamily="34" charset="0"/>
                    <a:ea typeface="Segoe UI" pitchFamily="34" charset="0"/>
                    <a:cs typeface="Segoe UI Semibold" panose="020B0702040204020203" pitchFamily="34" charset="0"/>
                  </a:rPr>
                </a:br>
                <a:r>
                  <a:rPr lang="fr-fr" sz="2400" b="0" i="0" u="none" baseline="0" dirty="0">
                    <a:solidFill>
                      <a:srgbClr val="FFFFFF"/>
                    </a:solidFill>
                    <a:latin typeface="Segoe UI Semibold"/>
                    <a:ea typeface="Segoe UI" pitchFamily="34" charset="0"/>
                    <a:cs typeface="Segoe UI Semibold"/>
                  </a:rPr>
                  <a:t>Teams</a:t>
                </a:r>
              </a:p>
            </p:txBody>
          </p:sp>
        </p:grpSp>
        <p:sp>
          <p:nvSpPr>
            <p:cNvPr id="41" name="Oval 40">
              <a:extLst>
                <a:ext uri="{FF2B5EF4-FFF2-40B4-BE49-F238E27FC236}">
                  <a16:creationId xmlns:a16="http://schemas.microsoft.com/office/drawing/2014/main" id="{C7DBF5DA-2735-4D93-BD79-80CEC6F54899}"/>
                </a:ext>
              </a:extLst>
            </p:cNvPr>
            <p:cNvSpPr/>
            <p:nvPr>
              <p:custDataLst>
                <p:tags r:id="rId1"/>
              </p:custDataLst>
            </p:nvPr>
          </p:nvSpPr>
          <p:spPr bwMode="auto">
            <a:xfrm>
              <a:off x="7353052" y="5005274"/>
              <a:ext cx="1259383" cy="1259381"/>
            </a:xfrm>
            <a:prstGeom prst="ellipse">
              <a:avLst/>
            </a:prstGeom>
            <a:solidFill>
              <a:schemeClr val="bg1">
                <a:lumMod val="95000"/>
              </a:schemeClr>
            </a:solidFill>
            <a:ln>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533400" rtl="0">
                <a:spcBef>
                  <a:spcPct val="0"/>
                </a:spcBef>
                <a:spcAft>
                  <a:spcPct val="35000"/>
                </a:spcAft>
              </a:pPr>
              <a:r>
                <a:rPr lang="fr-fr" sz="1400" b="0" i="0" u="none" baseline="0" dirty="0">
                  <a:solidFill>
                    <a:srgbClr val="000000">
                      <a:hueOff val="0"/>
                      <a:satOff val="0"/>
                      <a:lumOff val="0"/>
                      <a:alphaOff val="0"/>
                    </a:srgbClr>
                  </a:solidFill>
                </a:rPr>
                <a:t>Bots et</a:t>
              </a:r>
              <a:br>
                <a:rPr lang="fr-fr" sz="1400" dirty="0"/>
              </a:br>
              <a:r>
                <a:rPr lang="fr-fr" sz="1400" b="0" i="0" u="none" baseline="0" dirty="0">
                  <a:solidFill>
                    <a:srgbClr val="000000">
                      <a:hueOff val="0"/>
                      <a:satOff val="0"/>
                      <a:lumOff val="0"/>
                      <a:alphaOff val="0"/>
                    </a:srgbClr>
                  </a:solidFill>
                </a:rPr>
                <a:t>connecteurs </a:t>
              </a:r>
              <a:endParaRPr lang="fr-fr" sz="1400" b="0" i="0" u="none" baseline="0" dirty="0">
                <a:solidFill>
                  <a:srgbClr val="000000">
                    <a:hueOff val="0"/>
                    <a:satOff val="0"/>
                    <a:lumOff val="0"/>
                    <a:alphaOff val="0"/>
                  </a:srgbClr>
                </a:solidFill>
                <a:cs typeface="Segoe UI"/>
              </a:endParaRPr>
            </a:p>
          </p:txBody>
        </p:sp>
        <p:sp>
          <p:nvSpPr>
            <p:cNvPr id="42" name="Oval 41">
              <a:extLst>
                <a:ext uri="{FF2B5EF4-FFF2-40B4-BE49-F238E27FC236}">
                  <a16:creationId xmlns:a16="http://schemas.microsoft.com/office/drawing/2014/main" id="{BC6B4840-539F-490F-86FB-A59C60F7E895}"/>
                </a:ext>
              </a:extLst>
            </p:cNvPr>
            <p:cNvSpPr/>
            <p:nvPr>
              <p:custDataLst>
                <p:tags r:id="rId2"/>
              </p:custDataLst>
            </p:nvPr>
          </p:nvSpPr>
          <p:spPr bwMode="auto">
            <a:xfrm>
              <a:off x="5442630" y="3902291"/>
              <a:ext cx="1259383" cy="1259381"/>
            </a:xfrm>
            <a:prstGeom prst="ellipse">
              <a:avLst/>
            </a:prstGeom>
            <a:solidFill>
              <a:schemeClr val="bg1">
                <a:lumMod val="95000"/>
              </a:schemeClr>
            </a:solidFill>
            <a:ln>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533400" rtl="0">
                <a:spcBef>
                  <a:spcPct val="0"/>
                </a:spcBef>
                <a:spcAft>
                  <a:spcPct val="35000"/>
                </a:spcAft>
              </a:pPr>
              <a:r>
                <a:rPr lang="fr-fr" sz="1400" b="0" i="0" u="none" baseline="0" dirty="0">
                  <a:solidFill>
                    <a:srgbClr val="000000">
                      <a:hueOff val="0"/>
                      <a:satOff val="0"/>
                      <a:lumOff val="0"/>
                      <a:alphaOff val="0"/>
                    </a:srgbClr>
                  </a:solidFill>
                </a:rPr>
                <a:t>Services et </a:t>
              </a:r>
              <a:br>
                <a:rPr lang="fr-fr" sz="1400" dirty="0"/>
              </a:br>
              <a:r>
                <a:rPr lang="fr-fr" sz="1400" b="0" i="0" u="none" baseline="0" dirty="0">
                  <a:solidFill>
                    <a:srgbClr val="000000">
                      <a:hueOff val="0"/>
                      <a:satOff val="0"/>
                      <a:lumOff val="0"/>
                      <a:alphaOff val="0"/>
                    </a:srgbClr>
                  </a:solidFill>
                </a:rPr>
                <a:t>applications </a:t>
              </a:r>
              <a:br>
                <a:rPr lang="fr-fr" sz="1400" dirty="0"/>
              </a:br>
              <a:r>
                <a:rPr lang="fr-fr" sz="1400" b="0" i="0" u="none" baseline="0" dirty="0">
                  <a:solidFill>
                    <a:srgbClr val="000000">
                      <a:hueOff val="0"/>
                      <a:satOff val="0"/>
                      <a:lumOff val="0"/>
                      <a:alphaOff val="0"/>
                    </a:srgbClr>
                  </a:solidFill>
                </a:rPr>
                <a:t>du quotidien</a:t>
              </a:r>
              <a:endParaRPr lang="fr-fr" sz="2000" dirty="0">
                <a:cs typeface="Segoe UI"/>
              </a:endParaRPr>
            </a:p>
          </p:txBody>
        </p:sp>
        <p:sp>
          <p:nvSpPr>
            <p:cNvPr id="43" name="Oval 42">
              <a:extLst>
                <a:ext uri="{FF2B5EF4-FFF2-40B4-BE49-F238E27FC236}">
                  <a16:creationId xmlns:a16="http://schemas.microsoft.com/office/drawing/2014/main" id="{9CD4D9E9-BBC2-436C-8038-67BC5999A10F}"/>
                </a:ext>
              </a:extLst>
            </p:cNvPr>
            <p:cNvSpPr/>
            <p:nvPr>
              <p:custDataLst>
                <p:tags r:id="rId3"/>
              </p:custDataLst>
            </p:nvPr>
          </p:nvSpPr>
          <p:spPr bwMode="auto">
            <a:xfrm>
              <a:off x="5442630" y="1696328"/>
              <a:ext cx="1259383" cy="1259381"/>
            </a:xfrm>
            <a:prstGeom prst="ellipse">
              <a:avLst/>
            </a:prstGeom>
            <a:solidFill>
              <a:schemeClr val="bg1">
                <a:lumMod val="95000"/>
              </a:schemeClr>
            </a:solidFill>
            <a:ln>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lvl="0" algn="ctr" defTabSz="533400" rtl="0">
                <a:spcBef>
                  <a:spcPct val="0"/>
                </a:spcBef>
                <a:spcAft>
                  <a:spcPct val="35000"/>
                </a:spcAft>
              </a:pPr>
              <a:r>
                <a:rPr lang="fr-fr" sz="1400" b="0" i="0" u="none" baseline="0" dirty="0">
                  <a:solidFill>
                    <a:srgbClr val="000000">
                      <a:hueOff val="0"/>
                      <a:satOff val="0"/>
                      <a:lumOff val="0"/>
                      <a:alphaOff val="0"/>
                    </a:srgbClr>
                  </a:solidFill>
                </a:rPr>
                <a:t>Collaborateurs</a:t>
              </a:r>
              <a:endParaRPr lang="fr-fr" sz="1400" b="0" i="0" u="none" baseline="0" dirty="0">
                <a:solidFill>
                  <a:srgbClr val="000000">
                    <a:hueOff val="0"/>
                    <a:satOff val="0"/>
                    <a:lumOff val="0"/>
                    <a:alphaOff val="0"/>
                  </a:srgbClr>
                </a:solidFill>
                <a:cs typeface="Segoe UI"/>
              </a:endParaRPr>
            </a:p>
          </p:txBody>
        </p:sp>
        <p:sp>
          <p:nvSpPr>
            <p:cNvPr id="44" name="Oval 43">
              <a:extLst>
                <a:ext uri="{FF2B5EF4-FFF2-40B4-BE49-F238E27FC236}">
                  <a16:creationId xmlns:a16="http://schemas.microsoft.com/office/drawing/2014/main" id="{78165ABF-2C19-4777-AE06-17B45FEFFBCE}"/>
                </a:ext>
              </a:extLst>
            </p:cNvPr>
            <p:cNvSpPr/>
            <p:nvPr>
              <p:custDataLst>
                <p:tags r:id="rId4"/>
              </p:custDataLst>
            </p:nvPr>
          </p:nvSpPr>
          <p:spPr bwMode="auto">
            <a:xfrm>
              <a:off x="7353052" y="593345"/>
              <a:ext cx="1259383" cy="1259381"/>
            </a:xfrm>
            <a:prstGeom prst="ellipse">
              <a:avLst/>
            </a:prstGeom>
            <a:solidFill>
              <a:schemeClr val="bg1">
                <a:lumMod val="95000"/>
              </a:schemeClr>
            </a:solidFill>
            <a:ln>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533400">
                <a:spcBef>
                  <a:spcPct val="0"/>
                </a:spcBef>
                <a:spcAft>
                  <a:spcPct val="35000"/>
                </a:spcAft>
              </a:pPr>
              <a:r>
                <a:rPr lang="fr-fr" sz="1400" dirty="0">
                  <a:solidFill>
                    <a:srgbClr val="000000">
                      <a:hueOff val="0"/>
                      <a:satOff val="0"/>
                      <a:lumOff val="0"/>
                      <a:alphaOff val="0"/>
                    </a:srgbClr>
                  </a:solidFill>
                </a:rPr>
                <a:t> </a:t>
              </a:r>
              <a:br>
                <a:rPr lang="fr-fr" sz="1400" b="0" i="0" u="none" baseline="0" dirty="0">
                  <a:solidFill>
                    <a:srgbClr val="000000">
                      <a:hueOff val="0"/>
                      <a:satOff val="0"/>
                      <a:lumOff val="0"/>
                      <a:alphaOff val="0"/>
                    </a:srgbClr>
                  </a:solidFill>
                </a:rPr>
              </a:br>
              <a:r>
                <a:rPr lang="fr-fr" sz="1400" b="0" i="0" u="none" baseline="0" dirty="0">
                  <a:solidFill>
                    <a:srgbClr val="000000">
                      <a:hueOff val="0"/>
                      <a:satOff val="0"/>
                      <a:lumOff val="0"/>
                      <a:alphaOff val="0"/>
                    </a:srgbClr>
                  </a:solidFill>
                </a:rPr>
                <a:t>Applications </a:t>
              </a:r>
              <a:br>
                <a:rPr lang="fr-fr" sz="1400" b="0" i="0" u="none" baseline="0" dirty="0">
                  <a:solidFill>
                    <a:srgbClr val="000000">
                      <a:hueOff val="0"/>
                      <a:satOff val="0"/>
                      <a:lumOff val="0"/>
                      <a:alphaOff val="0"/>
                    </a:srgbClr>
                  </a:solidFill>
                </a:rPr>
              </a:br>
              <a:r>
                <a:rPr lang="fr-fr" sz="1400" b="0" i="0" u="none" baseline="0" dirty="0">
                  <a:solidFill>
                    <a:srgbClr val="000000">
                      <a:hueOff val="0"/>
                      <a:satOff val="0"/>
                      <a:lumOff val="0"/>
                      <a:alphaOff val="0"/>
                    </a:srgbClr>
                  </a:solidFill>
                </a:rPr>
                <a:t>Office</a:t>
              </a:r>
              <a:br>
                <a:rPr lang="fr-fr" sz="1400" dirty="0">
                  <a:solidFill>
                    <a:srgbClr val="000000">
                      <a:hueOff val="0"/>
                      <a:satOff val="0"/>
                      <a:lumOff val="0"/>
                      <a:alphaOff val="0"/>
                    </a:srgbClr>
                  </a:solidFill>
                </a:rPr>
              </a:br>
              <a:endParaRPr lang="fr-fr" sz="1400" dirty="0">
                <a:solidFill>
                  <a:srgbClr val="000000">
                    <a:hueOff val="0"/>
                    <a:satOff val="0"/>
                    <a:lumOff val="0"/>
                    <a:alphaOff val="0"/>
                  </a:srgbClr>
                </a:solidFill>
              </a:endParaRPr>
            </a:p>
          </p:txBody>
        </p:sp>
        <p:sp>
          <p:nvSpPr>
            <p:cNvPr id="45" name="Oval 44">
              <a:extLst>
                <a:ext uri="{FF2B5EF4-FFF2-40B4-BE49-F238E27FC236}">
                  <a16:creationId xmlns:a16="http://schemas.microsoft.com/office/drawing/2014/main" id="{4C00159A-52D0-4E84-8700-DC9AF95399CE}"/>
                </a:ext>
              </a:extLst>
            </p:cNvPr>
            <p:cNvSpPr/>
            <p:nvPr>
              <p:custDataLst>
                <p:tags r:id="rId5"/>
              </p:custDataLst>
            </p:nvPr>
          </p:nvSpPr>
          <p:spPr bwMode="auto">
            <a:xfrm>
              <a:off x="9263475" y="1696328"/>
              <a:ext cx="1259383" cy="1259381"/>
            </a:xfrm>
            <a:prstGeom prst="ellipse">
              <a:avLst/>
            </a:prstGeom>
            <a:solidFill>
              <a:schemeClr val="bg1">
                <a:lumMod val="95000"/>
              </a:schemeClr>
            </a:solidFill>
            <a:ln>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533400">
                <a:spcBef>
                  <a:spcPct val="0"/>
                </a:spcBef>
                <a:spcAft>
                  <a:spcPct val="35000"/>
                </a:spcAft>
              </a:pPr>
              <a:r>
                <a:rPr lang="fr-fr" sz="1400" dirty="0">
                  <a:solidFill>
                    <a:srgbClr val="000000">
                      <a:hueOff val="0"/>
                      <a:satOff val="0"/>
                      <a:lumOff val="0"/>
                      <a:alphaOff val="0"/>
                    </a:srgbClr>
                  </a:solidFill>
                </a:rPr>
                <a:t> </a:t>
              </a:r>
              <a:r>
                <a:rPr lang="fr-fr" sz="1400" b="0" i="0" u="none" baseline="0" dirty="0">
                  <a:solidFill>
                    <a:srgbClr val="000000">
                      <a:hueOff val="0"/>
                      <a:satOff val="0"/>
                      <a:lumOff val="0"/>
                      <a:alphaOff val="0"/>
                    </a:srgbClr>
                  </a:solidFill>
                </a:rPr>
                <a:t>Contenu </a:t>
              </a:r>
              <a:br>
                <a:rPr lang="fr-fr" sz="1400" b="0" i="0" u="none" baseline="0" dirty="0">
                  <a:solidFill>
                    <a:srgbClr val="000000">
                      <a:hueOff val="0"/>
                      <a:satOff val="0"/>
                      <a:lumOff val="0"/>
                      <a:alphaOff val="0"/>
                    </a:srgbClr>
                  </a:solidFill>
                </a:rPr>
              </a:br>
              <a:r>
                <a:rPr lang="fr-fr" sz="1400" b="0" i="0" u="none" baseline="0" dirty="0">
                  <a:solidFill>
                    <a:srgbClr val="000000">
                      <a:hueOff val="0"/>
                      <a:satOff val="0"/>
                      <a:lumOff val="0"/>
                      <a:alphaOff val="0"/>
                    </a:srgbClr>
                  </a:solidFill>
                </a:rPr>
                <a:t>et création</a:t>
              </a:r>
              <a:endParaRPr lang="fr-fr" sz="1400" b="0" i="0" u="none" baseline="0" dirty="0">
                <a:solidFill>
                  <a:srgbClr val="000000">
                    <a:hueOff val="0"/>
                    <a:satOff val="0"/>
                    <a:lumOff val="0"/>
                    <a:alphaOff val="0"/>
                  </a:srgbClr>
                </a:solidFill>
                <a:cs typeface="Segoe UI"/>
              </a:endParaRPr>
            </a:p>
          </p:txBody>
        </p:sp>
        <p:sp>
          <p:nvSpPr>
            <p:cNvPr id="46" name="Oval 45">
              <a:extLst>
                <a:ext uri="{FF2B5EF4-FFF2-40B4-BE49-F238E27FC236}">
                  <a16:creationId xmlns:a16="http://schemas.microsoft.com/office/drawing/2014/main" id="{E1E4E43C-9FB1-436F-B9F0-87CE37C36E0F}"/>
                </a:ext>
              </a:extLst>
            </p:cNvPr>
            <p:cNvSpPr/>
            <p:nvPr>
              <p:custDataLst>
                <p:tags r:id="rId6"/>
              </p:custDataLst>
            </p:nvPr>
          </p:nvSpPr>
          <p:spPr bwMode="auto">
            <a:xfrm>
              <a:off x="9263475" y="3902291"/>
              <a:ext cx="1259383" cy="1259381"/>
            </a:xfrm>
            <a:prstGeom prst="ellipse">
              <a:avLst/>
            </a:prstGeom>
            <a:solidFill>
              <a:schemeClr val="bg1">
                <a:lumMod val="95000"/>
              </a:schemeClr>
            </a:solidFill>
            <a:ln>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533400" rtl="0">
                <a:spcBef>
                  <a:spcPct val="0"/>
                </a:spcBef>
                <a:spcAft>
                  <a:spcPct val="35000"/>
                </a:spcAft>
              </a:pPr>
              <a:r>
                <a:rPr lang="fr-fr" sz="1400" b="0" i="0" u="none" baseline="0" dirty="0">
                  <a:solidFill>
                    <a:srgbClr val="000000">
                      <a:hueOff val="0"/>
                      <a:satOff val="0"/>
                      <a:lumOff val="0"/>
                      <a:alphaOff val="0"/>
                    </a:srgbClr>
                  </a:solidFill>
                </a:rPr>
                <a:t>Chats, </a:t>
              </a:r>
              <a:br>
                <a:rPr lang="fr-fr" sz="1400" dirty="0"/>
              </a:br>
              <a:r>
                <a:rPr lang="fr-fr" sz="1400" b="0" i="0" u="none" baseline="0" dirty="0">
                  <a:solidFill>
                    <a:srgbClr val="000000">
                      <a:hueOff val="0"/>
                      <a:satOff val="0"/>
                      <a:lumOff val="0"/>
                      <a:alphaOff val="0"/>
                    </a:srgbClr>
                  </a:solidFill>
                </a:rPr>
                <a:t>appels et</a:t>
              </a:r>
              <a:br>
                <a:rPr lang="fr-fr" sz="1400" dirty="0"/>
              </a:br>
              <a:r>
                <a:rPr lang="fr-fr" sz="1400" b="0" i="0" u="none" baseline="0" dirty="0">
                  <a:solidFill>
                    <a:srgbClr val="000000">
                      <a:hueOff val="0"/>
                      <a:satOff val="0"/>
                      <a:lumOff val="0"/>
                      <a:alphaOff val="0"/>
                    </a:srgbClr>
                  </a:solidFill>
                </a:rPr>
                <a:t>réunions</a:t>
              </a:r>
              <a:endParaRPr lang="fr-fr" sz="2000" dirty="0">
                <a:cs typeface="Segoe UI"/>
              </a:endParaRPr>
            </a:p>
          </p:txBody>
        </p:sp>
      </p:grpSp>
      <p:sp>
        <p:nvSpPr>
          <p:cNvPr id="12" name="Arrow: Bent 11">
            <a:extLst>
              <a:ext uri="{FF2B5EF4-FFF2-40B4-BE49-F238E27FC236}">
                <a16:creationId xmlns:a16="http://schemas.microsoft.com/office/drawing/2014/main" id="{F0EB76C2-0688-4EC4-ACEF-C905E62A1238}"/>
              </a:ext>
            </a:extLst>
          </p:cNvPr>
          <p:cNvSpPr/>
          <p:nvPr/>
        </p:nvSpPr>
        <p:spPr bwMode="auto">
          <a:xfrm flipV="1">
            <a:off x="4460033" y="0"/>
            <a:ext cx="1635967" cy="3102674"/>
          </a:xfrm>
          <a:prstGeom prst="bentArrow">
            <a:avLst>
              <a:gd name="adj1" fmla="val 25000"/>
              <a:gd name="adj2" fmla="val 0"/>
              <a:gd name="adj3" fmla="val 25000"/>
              <a:gd name="adj4" fmla="val 0"/>
            </a:avLst>
          </a:prstGeom>
          <a:solidFill>
            <a:schemeClr val="accent1"/>
          </a:solidFill>
          <a:ln w="12700">
            <a:solidFill>
              <a:srgbClr val="A6AADE"/>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47" name="Arrow: Bent 46">
            <a:extLst>
              <a:ext uri="{FF2B5EF4-FFF2-40B4-BE49-F238E27FC236}">
                <a16:creationId xmlns:a16="http://schemas.microsoft.com/office/drawing/2014/main" id="{30E46298-5028-4CAF-AD98-1F54F754560B}"/>
              </a:ext>
            </a:extLst>
          </p:cNvPr>
          <p:cNvSpPr/>
          <p:nvPr/>
        </p:nvSpPr>
        <p:spPr bwMode="auto">
          <a:xfrm>
            <a:off x="4460033" y="3755326"/>
            <a:ext cx="1635967" cy="3102674"/>
          </a:xfrm>
          <a:prstGeom prst="bentArrow">
            <a:avLst>
              <a:gd name="adj1" fmla="val 25000"/>
              <a:gd name="adj2" fmla="val 0"/>
              <a:gd name="adj3" fmla="val 25000"/>
              <a:gd name="adj4" fmla="val 0"/>
            </a:avLst>
          </a:prstGeom>
          <a:solidFill>
            <a:schemeClr val="accent1"/>
          </a:solidFill>
          <a:ln w="12700">
            <a:solidFill>
              <a:srgbClr val="A6AADE"/>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1567964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03B28D15-4FAD-4F2F-9EB4-65F32B358040}"/>
              </a:ext>
            </a:extLst>
          </p:cNvPr>
          <p:cNvGrpSpPr/>
          <p:nvPr/>
        </p:nvGrpSpPr>
        <p:grpSpPr>
          <a:xfrm>
            <a:off x="718457" y="2832099"/>
            <a:ext cx="3508505" cy="3364163"/>
            <a:chOff x="718457" y="2978150"/>
            <a:chExt cx="3508505" cy="2889658"/>
          </a:xfrm>
        </p:grpSpPr>
        <p:sp>
          <p:nvSpPr>
            <p:cNvPr id="5" name="Arrow: Bent 4">
              <a:extLst>
                <a:ext uri="{FF2B5EF4-FFF2-40B4-BE49-F238E27FC236}">
                  <a16:creationId xmlns:a16="http://schemas.microsoft.com/office/drawing/2014/main" id="{54AA9C75-B9DA-46E9-8A00-831E01D7D09D}"/>
                </a:ext>
              </a:extLst>
            </p:cNvPr>
            <p:cNvSpPr/>
            <p:nvPr/>
          </p:nvSpPr>
          <p:spPr bwMode="auto">
            <a:xfrm flipV="1">
              <a:off x="718457" y="2978150"/>
              <a:ext cx="3498980" cy="2871107"/>
            </a:xfrm>
            <a:prstGeom prst="bentArrow">
              <a:avLst>
                <a:gd name="adj1" fmla="val 25000"/>
                <a:gd name="adj2" fmla="val 0"/>
                <a:gd name="adj3" fmla="val 25000"/>
                <a:gd name="adj4" fmla="val 347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BDF01274-67D8-463A-9DDA-D4DAE203AF37}"/>
                </a:ext>
              </a:extLst>
            </p:cNvPr>
            <p:cNvSpPr/>
            <p:nvPr/>
          </p:nvSpPr>
          <p:spPr bwMode="auto">
            <a:xfrm>
              <a:off x="3998362" y="5831232"/>
              <a:ext cx="228600" cy="36576"/>
            </a:xfrm>
            <a:prstGeom prst="roundRect">
              <a:avLst>
                <a:gd name="adj" fmla="val 5000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44" name="Rectangle 43">
            <a:extLst>
              <a:ext uri="{FF2B5EF4-FFF2-40B4-BE49-F238E27FC236}">
                <a16:creationId xmlns:a16="http://schemas.microsoft.com/office/drawing/2014/main" id="{CEE2126C-64FB-491E-86B8-4940321B3C37}"/>
              </a:ext>
            </a:extLst>
          </p:cNvPr>
          <p:cNvSpPr/>
          <p:nvPr/>
        </p:nvSpPr>
        <p:spPr>
          <a:xfrm>
            <a:off x="645194" y="3181359"/>
            <a:ext cx="3551257" cy="2693045"/>
          </a:xfrm>
          <a:prstGeom prst="rect">
            <a:avLst/>
          </a:prstGeom>
        </p:spPr>
        <p:txBody>
          <a:bodyPr wrap="square" lIns="0" tIns="0" rIns="0" bIns="0" anchor="t">
            <a:spAutoFit/>
          </a:bodyPr>
          <a:lstStyle/>
          <a:p>
            <a:pPr marL="258445" indent="-258445" algn="l" rtl="0" fontAlgn="base">
              <a:spcBef>
                <a:spcPts val="600"/>
              </a:spcBef>
              <a:buClr>
                <a:srgbClr val="4B53BC"/>
              </a:buClr>
              <a:buSzPct val="100000"/>
              <a:buBlip>
                <a:blip r:embed="rId2"/>
              </a:buBlip>
            </a:pPr>
            <a:r>
              <a:rPr lang="fr-fr" sz="1600" b="0" i="0" u="none" baseline="0" dirty="0">
                <a:cs typeface="Segoe UI"/>
              </a:rPr>
              <a:t>Proposez une expérience fluide et cohérente avec une qualité audio </a:t>
            </a:r>
            <a:br>
              <a:rPr lang="fr-fr" sz="1600" b="0" i="0" u="none" baseline="0" dirty="0">
                <a:cs typeface="Segoe UI"/>
              </a:rPr>
            </a:br>
            <a:r>
              <a:rPr lang="fr-fr" sz="1600" b="0" i="0" u="none" baseline="0" dirty="0">
                <a:cs typeface="Segoe UI"/>
              </a:rPr>
              <a:t>et vidéo de haut niveau</a:t>
            </a:r>
          </a:p>
          <a:p>
            <a:pPr marL="258445" indent="-258445" algn="l" rtl="0" fontAlgn="base">
              <a:spcBef>
                <a:spcPts val="600"/>
              </a:spcBef>
              <a:buClr>
                <a:srgbClr val="4B53BC"/>
              </a:buClr>
              <a:buSzPct val="100000"/>
              <a:buBlip>
                <a:blip r:embed="rId2"/>
              </a:buBlip>
            </a:pPr>
            <a:r>
              <a:rPr lang="fr-fr" sz="1600" b="0" i="0" u="none" baseline="0" dirty="0">
                <a:cs typeface="Segoe UI"/>
              </a:rPr>
              <a:t>Connectez-vous à l</a:t>
            </a:r>
            <a:r>
              <a:rPr lang="fr-FR" sz="1600" b="0" i="0" u="none" baseline="0" dirty="0">
                <a:cs typeface="Segoe UI"/>
              </a:rPr>
              <a:t>’</a:t>
            </a:r>
            <a:r>
              <a:rPr lang="fr-fr" sz="1600" b="0" i="0" u="none" baseline="0" dirty="0">
                <a:cs typeface="Segoe UI"/>
              </a:rPr>
              <a:t>aide d</a:t>
            </a:r>
            <a:r>
              <a:rPr lang="fr-FR" sz="1600" b="0" i="0" u="none" baseline="0" dirty="0">
                <a:cs typeface="Segoe UI"/>
              </a:rPr>
              <a:t>’</a:t>
            </a:r>
            <a:r>
              <a:rPr lang="fr-fr" sz="1600" b="0" i="0" u="none" baseline="0" dirty="0">
                <a:cs typeface="Segoe UI"/>
              </a:rPr>
              <a:t>appareils personnels ou partagés compatibles avec Teams, notamment Microsoft Teams </a:t>
            </a:r>
            <a:r>
              <a:rPr lang="fr-fr" sz="1600" b="0" i="0" u="none" baseline="0" err="1">
                <a:cs typeface="Segoe UI"/>
              </a:rPr>
              <a:t>Rooms</a:t>
            </a:r>
            <a:r>
              <a:rPr lang="fr-fr" sz="1600" b="0" i="0" u="none" baseline="0" dirty="0">
                <a:cs typeface="Segoe UI"/>
              </a:rPr>
              <a:t>, Collaboration Bars </a:t>
            </a:r>
            <a:br>
              <a:rPr lang="fr-fr" sz="1600" b="0" i="0" u="none" baseline="0" dirty="0">
                <a:cs typeface="Segoe UI"/>
              </a:rPr>
            </a:br>
            <a:r>
              <a:rPr lang="fr-fr" sz="1600" b="0" i="0" u="none" baseline="0" dirty="0">
                <a:cs typeface="Segoe UI"/>
              </a:rPr>
              <a:t>et Surface Hub2Shelp</a:t>
            </a:r>
          </a:p>
          <a:p>
            <a:pPr marL="258445" indent="-258445" algn="l" rtl="0" fontAlgn="base">
              <a:spcBef>
                <a:spcPts val="600"/>
              </a:spcBef>
              <a:buClr>
                <a:srgbClr val="4B53BC"/>
              </a:buClr>
              <a:buSzPct val="100000"/>
              <a:buBlip>
                <a:blip r:embed="rId2"/>
              </a:buBlip>
            </a:pPr>
            <a:r>
              <a:rPr lang="fr-fr" sz="1600" b="0" i="0" u="none" baseline="0" dirty="0">
                <a:cs typeface="Segoe UI"/>
              </a:rPr>
              <a:t>Intégrez des fonctions de téléphonie et d</a:t>
            </a:r>
            <a:r>
              <a:rPr lang="fr-FR" sz="1600" b="0" i="0" u="none" baseline="0" dirty="0">
                <a:cs typeface="Segoe UI"/>
              </a:rPr>
              <a:t>’</a:t>
            </a:r>
            <a:r>
              <a:rPr lang="fr-fr" sz="1600" b="0" i="0" u="none" baseline="0" dirty="0">
                <a:cs typeface="Segoe UI"/>
              </a:rPr>
              <a:t>appel</a:t>
            </a:r>
          </a:p>
        </p:txBody>
      </p:sp>
      <p:grpSp>
        <p:nvGrpSpPr>
          <p:cNvPr id="75" name="Group 74">
            <a:extLst>
              <a:ext uri="{FF2B5EF4-FFF2-40B4-BE49-F238E27FC236}">
                <a16:creationId xmlns:a16="http://schemas.microsoft.com/office/drawing/2014/main" id="{D510D6DB-E359-49C7-A31D-25DF3E1B33AB}"/>
              </a:ext>
            </a:extLst>
          </p:cNvPr>
          <p:cNvGrpSpPr/>
          <p:nvPr/>
        </p:nvGrpSpPr>
        <p:grpSpPr>
          <a:xfrm>
            <a:off x="4411533" y="2832101"/>
            <a:ext cx="3498980" cy="3364162"/>
            <a:chOff x="4411533" y="2978151"/>
            <a:chExt cx="3498980" cy="2889657"/>
          </a:xfrm>
        </p:grpSpPr>
        <p:sp>
          <p:nvSpPr>
            <p:cNvPr id="39" name="Arrow: Bent 38">
              <a:extLst>
                <a:ext uri="{FF2B5EF4-FFF2-40B4-BE49-F238E27FC236}">
                  <a16:creationId xmlns:a16="http://schemas.microsoft.com/office/drawing/2014/main" id="{A866C928-40F7-44EA-9030-3A8CA350790C}"/>
                </a:ext>
              </a:extLst>
            </p:cNvPr>
            <p:cNvSpPr/>
            <p:nvPr/>
          </p:nvSpPr>
          <p:spPr bwMode="auto">
            <a:xfrm flipV="1">
              <a:off x="4411533" y="2978151"/>
              <a:ext cx="3498980" cy="2871107"/>
            </a:xfrm>
            <a:prstGeom prst="bentArrow">
              <a:avLst>
                <a:gd name="adj1" fmla="val 25000"/>
                <a:gd name="adj2" fmla="val 0"/>
                <a:gd name="adj3" fmla="val 25000"/>
                <a:gd name="adj4" fmla="val 347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40" name="Rectangle: Rounded Corners 39">
              <a:extLst>
                <a:ext uri="{FF2B5EF4-FFF2-40B4-BE49-F238E27FC236}">
                  <a16:creationId xmlns:a16="http://schemas.microsoft.com/office/drawing/2014/main" id="{E82422A7-81F9-4536-8F24-97ED10818B7E}"/>
                </a:ext>
              </a:extLst>
            </p:cNvPr>
            <p:cNvSpPr/>
            <p:nvPr/>
          </p:nvSpPr>
          <p:spPr bwMode="auto">
            <a:xfrm>
              <a:off x="7681913" y="5831232"/>
              <a:ext cx="228600" cy="36576"/>
            </a:xfrm>
            <a:prstGeom prst="roundRect">
              <a:avLst>
                <a:gd name="adj" fmla="val 5000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61" name="Rectangle 60">
            <a:extLst>
              <a:ext uri="{FF2B5EF4-FFF2-40B4-BE49-F238E27FC236}">
                <a16:creationId xmlns:a16="http://schemas.microsoft.com/office/drawing/2014/main" id="{0CC56AB5-C155-4A32-8703-28F1D5CB2D21}"/>
              </a:ext>
            </a:extLst>
          </p:cNvPr>
          <p:cNvSpPr/>
          <p:nvPr/>
        </p:nvSpPr>
        <p:spPr>
          <a:xfrm>
            <a:off x="4343285" y="3181359"/>
            <a:ext cx="3567228" cy="2862322"/>
          </a:xfrm>
          <a:prstGeom prst="rect">
            <a:avLst/>
          </a:prstGeom>
        </p:spPr>
        <p:txBody>
          <a:bodyPr wrap="square" lIns="0" tIns="0" rIns="0" bIns="0" anchor="t">
            <a:spAutoFit/>
          </a:bodyPr>
          <a:lstStyle/>
          <a:p>
            <a:pPr marL="258445" indent="-258445" algn="l" rtl="0" fontAlgn="base">
              <a:spcBef>
                <a:spcPts val="600"/>
              </a:spcBef>
              <a:buClr>
                <a:srgbClr val="4B53BC"/>
              </a:buClr>
              <a:buSzPct val="100000"/>
              <a:buBlip>
                <a:blip r:embed="rId2"/>
              </a:buBlip>
            </a:pPr>
            <a:r>
              <a:rPr lang="fr-fr" sz="1600" b="0" i="0" u="none" baseline="0" dirty="0">
                <a:cs typeface="Segoe UI"/>
              </a:rPr>
              <a:t>Centralisez la collaboration professionnelle sur une plateforme digitale permettant aux équipes de se réunir, s</a:t>
            </a:r>
            <a:r>
              <a:rPr lang="fr-FR" sz="1600" b="0" i="0" u="none" baseline="0" dirty="0">
                <a:cs typeface="Segoe UI"/>
              </a:rPr>
              <a:t>’</a:t>
            </a:r>
            <a:r>
              <a:rPr lang="fr-fr" sz="1600" b="0" i="0" u="none" baseline="0" dirty="0">
                <a:cs typeface="Segoe UI"/>
              </a:rPr>
              <a:t>appeler et discuter.</a:t>
            </a:r>
          </a:p>
          <a:p>
            <a:pPr marL="258445" indent="-258445" algn="l" rtl="0" fontAlgn="base">
              <a:spcBef>
                <a:spcPts val="600"/>
              </a:spcBef>
              <a:buClr>
                <a:srgbClr val="4B53BC"/>
              </a:buClr>
              <a:buSzPct val="100000"/>
              <a:buBlip>
                <a:blip r:embed="rId2"/>
              </a:buBlip>
            </a:pPr>
            <a:r>
              <a:rPr lang="fr-fr" sz="1600" b="0" i="0" u="none" baseline="0" dirty="0">
                <a:cs typeface="Segoe UI"/>
              </a:rPr>
              <a:t>Dopez la productivité du télétravail en simplifiant les processus métier</a:t>
            </a:r>
          </a:p>
          <a:p>
            <a:pPr marL="258445" indent="-258445" algn="l" rtl="0" fontAlgn="base">
              <a:spcBef>
                <a:spcPts val="600"/>
              </a:spcBef>
              <a:buClr>
                <a:srgbClr val="4B53BC"/>
              </a:buClr>
              <a:buSzPct val="100000"/>
              <a:buBlip>
                <a:blip r:embed="rId2"/>
              </a:buBlip>
            </a:pPr>
            <a:r>
              <a:rPr lang="fr-fr" sz="1600" b="0" i="0" u="none" baseline="0" dirty="0">
                <a:cs typeface="Segoe UI"/>
              </a:rPr>
              <a:t>Accompagnez votre équipe en organisant des rendez-vous individuels, des événements en petits groupes ou de grandes conférences virtuelles</a:t>
            </a:r>
          </a:p>
        </p:txBody>
      </p:sp>
      <p:grpSp>
        <p:nvGrpSpPr>
          <p:cNvPr id="76" name="Group 75">
            <a:extLst>
              <a:ext uri="{FF2B5EF4-FFF2-40B4-BE49-F238E27FC236}">
                <a16:creationId xmlns:a16="http://schemas.microsoft.com/office/drawing/2014/main" id="{76C3441E-59A3-4595-B1EC-FF7C3F62A094}"/>
              </a:ext>
            </a:extLst>
          </p:cNvPr>
          <p:cNvGrpSpPr/>
          <p:nvPr/>
        </p:nvGrpSpPr>
        <p:grpSpPr>
          <a:xfrm>
            <a:off x="8118880" y="2832101"/>
            <a:ext cx="3498980" cy="3364162"/>
            <a:chOff x="8118880" y="2978151"/>
            <a:chExt cx="3498980" cy="2889657"/>
          </a:xfrm>
        </p:grpSpPr>
        <p:sp>
          <p:nvSpPr>
            <p:cNvPr id="42" name="Arrow: Bent 41">
              <a:extLst>
                <a:ext uri="{FF2B5EF4-FFF2-40B4-BE49-F238E27FC236}">
                  <a16:creationId xmlns:a16="http://schemas.microsoft.com/office/drawing/2014/main" id="{B2BA9670-38D7-4AB8-B45B-848CA87D403F}"/>
                </a:ext>
              </a:extLst>
            </p:cNvPr>
            <p:cNvSpPr/>
            <p:nvPr/>
          </p:nvSpPr>
          <p:spPr bwMode="auto">
            <a:xfrm flipV="1">
              <a:off x="8118880" y="2978151"/>
              <a:ext cx="3498980" cy="2871107"/>
            </a:xfrm>
            <a:prstGeom prst="bentArrow">
              <a:avLst>
                <a:gd name="adj1" fmla="val 25000"/>
                <a:gd name="adj2" fmla="val 0"/>
                <a:gd name="adj3" fmla="val 25000"/>
                <a:gd name="adj4" fmla="val 347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CD1FC02A-A405-4392-BA59-A6CB646FA9D0}"/>
                </a:ext>
              </a:extLst>
            </p:cNvPr>
            <p:cNvSpPr/>
            <p:nvPr/>
          </p:nvSpPr>
          <p:spPr bwMode="auto">
            <a:xfrm>
              <a:off x="11389260" y="5831232"/>
              <a:ext cx="228600" cy="36576"/>
            </a:xfrm>
            <a:prstGeom prst="roundRect">
              <a:avLst>
                <a:gd name="adj" fmla="val 5000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62" name="Rectangle 61">
            <a:extLst>
              <a:ext uri="{FF2B5EF4-FFF2-40B4-BE49-F238E27FC236}">
                <a16:creationId xmlns:a16="http://schemas.microsoft.com/office/drawing/2014/main" id="{9BE9FB27-7C6F-4F3E-B1F2-9A90B59309E5}"/>
              </a:ext>
            </a:extLst>
          </p:cNvPr>
          <p:cNvSpPr/>
          <p:nvPr/>
        </p:nvSpPr>
        <p:spPr>
          <a:xfrm>
            <a:off x="8051565" y="3181359"/>
            <a:ext cx="3555218" cy="2616101"/>
          </a:xfrm>
          <a:prstGeom prst="rect">
            <a:avLst/>
          </a:prstGeom>
        </p:spPr>
        <p:txBody>
          <a:bodyPr wrap="square" lIns="0" tIns="0" rIns="0" bIns="0" anchor="t">
            <a:spAutoFit/>
          </a:bodyPr>
          <a:lstStyle/>
          <a:p>
            <a:pPr marL="258445" indent="-258445" algn="l" rtl="0" fontAlgn="base">
              <a:spcBef>
                <a:spcPts val="600"/>
              </a:spcBef>
              <a:buClr>
                <a:srgbClr val="4B53BC"/>
              </a:buClr>
              <a:buSzPct val="100000"/>
              <a:buBlip>
                <a:blip r:embed="rId2"/>
              </a:buBlip>
            </a:pPr>
            <a:r>
              <a:rPr lang="fr-fr" sz="1600" b="0" i="0" u="none" baseline="0" dirty="0">
                <a:cs typeface="Segoe UI"/>
              </a:rPr>
              <a:t>Réduisez les coûts et les risques en centralisant vos systèmes sur une seule plateforme</a:t>
            </a:r>
          </a:p>
          <a:p>
            <a:pPr marL="258445" indent="-258445" fontAlgn="base">
              <a:spcBef>
                <a:spcPts val="600"/>
              </a:spcBef>
              <a:buClr>
                <a:srgbClr val="4B53BC"/>
              </a:buClr>
              <a:buSzPct val="100000"/>
              <a:buBlip>
                <a:blip r:embed="rId2"/>
              </a:buBlip>
            </a:pPr>
            <a:r>
              <a:rPr lang="fr-fr" sz="1600" b="0" i="0" u="none" baseline="0" dirty="0">
                <a:cs typeface="Segoe UI"/>
              </a:rPr>
              <a:t>Permettez à vos équipes de sécurité de coordonner la protection, </a:t>
            </a:r>
            <a:br>
              <a:rPr lang="fr-fr" sz="1600" b="0" i="0" u="none" baseline="0" dirty="0">
                <a:cs typeface="Segoe UI"/>
              </a:rPr>
            </a:br>
            <a:r>
              <a:rPr lang="fr-fr" sz="1600" b="0" i="0" u="none" baseline="0" dirty="0">
                <a:cs typeface="Segoe UI"/>
              </a:rPr>
              <a:t>la détection, la réponse et la prévention depuis une seule solution</a:t>
            </a:r>
            <a:r>
              <a:rPr lang="fr-fr" sz="1600" dirty="0">
                <a:cs typeface="Segoe UI"/>
              </a:rPr>
              <a:t> </a:t>
            </a:r>
            <a:endParaRPr lang="fr-fr" sz="1600" b="0" i="0" u="none" baseline="0" dirty="0">
              <a:cs typeface="Segoe UI"/>
            </a:endParaRPr>
          </a:p>
          <a:p>
            <a:pPr marL="258445" indent="-258445" algn="l" rtl="0" fontAlgn="base">
              <a:spcBef>
                <a:spcPts val="600"/>
              </a:spcBef>
              <a:buClr>
                <a:srgbClr val="4B53BC"/>
              </a:buClr>
              <a:buSzPct val="100000"/>
              <a:buBlip>
                <a:blip r:embed="rId2"/>
              </a:buBlip>
            </a:pPr>
            <a:r>
              <a:rPr lang="fr-fr" sz="1600" b="0" i="0" u="none" baseline="0" dirty="0">
                <a:cs typeface="Segoe UI"/>
              </a:rPr>
              <a:t>Assurez une conformité et une gouvernance globales</a:t>
            </a:r>
          </a:p>
        </p:txBody>
      </p:sp>
      <p:sp>
        <p:nvSpPr>
          <p:cNvPr id="11" name="Title 1">
            <a:extLst>
              <a:ext uri="{FF2B5EF4-FFF2-40B4-BE49-F238E27FC236}">
                <a16:creationId xmlns:a16="http://schemas.microsoft.com/office/drawing/2014/main" id="{7EB46CE8-8125-476D-A02A-3F42DC91A486}"/>
              </a:ext>
            </a:extLst>
          </p:cNvPr>
          <p:cNvSpPr txBox="1">
            <a:spLocks/>
          </p:cNvSpPr>
          <p:nvPr/>
        </p:nvSpPr>
        <p:spPr>
          <a:xfrm>
            <a:off x="588263" y="457200"/>
            <a:ext cx="11018520" cy="553998"/>
          </a:xfrm>
          <a:prstGeom prst="rect">
            <a:avLst/>
          </a:prstGeom>
        </p:spPr>
        <p:txBody>
          <a:bodyPr anchor="t"/>
          <a:lstStyle>
            <a:lvl1pPr algn="l" defTabSz="932742" rtl="0" eaLnBrk="1" latinLnBrk="0" hangingPunct="1">
              <a:lnSpc>
                <a:spcPct val="100000"/>
              </a:lnSpc>
              <a:spcBef>
                <a:spcPct val="0"/>
              </a:spcBef>
              <a:buNone/>
              <a:defRPr lang="fr-fr" sz="3600" b="0" kern="1200" cap="none" spc="-50" baseline="0" dirty="0" smtClean="0">
                <a:ln w="3175">
                  <a:noFill/>
                </a:ln>
                <a:solidFill>
                  <a:schemeClr val="tx1"/>
                </a:solidFill>
                <a:effectLst/>
                <a:latin typeface="+mj-lt"/>
                <a:ea typeface="+mn-ea"/>
                <a:cs typeface="Segoe UI" pitchFamily="34" charset="0"/>
              </a:defRPr>
            </a:lvl1pPr>
          </a:lstStyle>
          <a:p>
            <a:endParaRPr lang="fr-fr" dirty="0"/>
          </a:p>
        </p:txBody>
      </p:sp>
      <p:sp>
        <p:nvSpPr>
          <p:cNvPr id="4" name="Title 3">
            <a:extLst>
              <a:ext uri="{FF2B5EF4-FFF2-40B4-BE49-F238E27FC236}">
                <a16:creationId xmlns:a16="http://schemas.microsoft.com/office/drawing/2014/main" id="{BEBA6688-56EF-4C10-A2DF-D076F7BDFC17}"/>
              </a:ext>
            </a:extLst>
          </p:cNvPr>
          <p:cNvSpPr>
            <a:spLocks noGrp="1"/>
          </p:cNvSpPr>
          <p:nvPr>
            <p:ph type="title"/>
          </p:nvPr>
        </p:nvSpPr>
        <p:spPr>
          <a:xfrm>
            <a:off x="588263" y="241756"/>
            <a:ext cx="11018520" cy="984885"/>
          </a:xfrm>
        </p:spPr>
        <p:txBody>
          <a:bodyPr/>
          <a:lstStyle/>
          <a:p>
            <a:pPr algn="l" rtl="0"/>
            <a:r>
              <a:rPr lang="fr-fr" sz="3200" b="0" i="0" u="none" baseline="0" dirty="0">
                <a:cs typeface="Segoe UI"/>
              </a:rPr>
              <a:t>Discutez, réunissez-vous, appelez et collaborez en un seul endroit, où que vous soyez grâce à Microsoft Teams</a:t>
            </a:r>
          </a:p>
        </p:txBody>
      </p:sp>
      <p:sp>
        <p:nvSpPr>
          <p:cNvPr id="25" name="Arrow: Pentagon 24">
            <a:extLst>
              <a:ext uri="{FF2B5EF4-FFF2-40B4-BE49-F238E27FC236}">
                <a16:creationId xmlns:a16="http://schemas.microsoft.com/office/drawing/2014/main" id="{6EACF396-0B27-4468-915A-7E26446FB9E6}"/>
              </a:ext>
            </a:extLst>
          </p:cNvPr>
          <p:cNvSpPr/>
          <p:nvPr/>
        </p:nvSpPr>
        <p:spPr bwMode="auto">
          <a:xfrm>
            <a:off x="591819" y="2221594"/>
            <a:ext cx="3764281" cy="845820"/>
          </a:xfrm>
          <a:prstGeom prst="homePlate">
            <a:avLst>
              <a:gd name="adj" fmla="val 24843"/>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fontAlgn="base">
              <a:spcBef>
                <a:spcPct val="0"/>
              </a:spcBef>
              <a:spcAft>
                <a:spcPts val="1200"/>
              </a:spcAft>
              <a:buClr>
                <a:prstClr val="white"/>
              </a:buClr>
              <a:buSzPct val="100000"/>
              <a:defRPr/>
            </a:pPr>
            <a:r>
              <a:rPr lang="fr-fr" sz="1600" b="0" i="0" u="none" baseline="0" dirty="0">
                <a:latin typeface="+mj-lt"/>
                <a:ea typeface="Segoe UI" panose="020B0502040204020203" pitchFamily="34" charset="0"/>
                <a:cs typeface="Segoe UI"/>
              </a:rPr>
              <a:t>Simplifier les échanges</a:t>
            </a:r>
            <a:br>
              <a:rPr lang="fr-fr" sz="1600" dirty="0">
                <a:latin typeface="+mj-lt"/>
                <a:ea typeface="Segoe UI" panose="020B0502040204020203" pitchFamily="34" charset="0"/>
                <a:cs typeface="Segoe UI" panose="020B0502040204020203" pitchFamily="34" charset="0"/>
              </a:rPr>
            </a:br>
            <a:r>
              <a:rPr lang="fr-fr" sz="1600" b="0" i="0" u="none" baseline="0" dirty="0">
                <a:latin typeface="+mj-lt"/>
                <a:ea typeface="Segoe UI" panose="020B0502040204020203" pitchFamily="34" charset="0"/>
                <a:cs typeface="Segoe UI"/>
              </a:rPr>
              <a:t>entre appareils</a:t>
            </a:r>
          </a:p>
        </p:txBody>
      </p:sp>
      <p:sp>
        <p:nvSpPr>
          <p:cNvPr id="27" name="Arrow: Chevron 26">
            <a:extLst>
              <a:ext uri="{FF2B5EF4-FFF2-40B4-BE49-F238E27FC236}">
                <a16:creationId xmlns:a16="http://schemas.microsoft.com/office/drawing/2014/main" id="{495CD7CB-720F-4DAB-AAAA-8C2BE7018B5F}"/>
              </a:ext>
            </a:extLst>
          </p:cNvPr>
          <p:cNvSpPr/>
          <p:nvPr/>
        </p:nvSpPr>
        <p:spPr bwMode="auto">
          <a:xfrm>
            <a:off x="4300797" y="2221594"/>
            <a:ext cx="3764281" cy="845820"/>
          </a:xfrm>
          <a:prstGeom prst="chevron">
            <a:avLst>
              <a:gd name="adj" fmla="val 25105"/>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fontAlgn="base">
              <a:spcBef>
                <a:spcPct val="0"/>
              </a:spcBef>
              <a:spcAft>
                <a:spcPts val="1200"/>
              </a:spcAft>
              <a:buClr>
                <a:prstClr val="white"/>
              </a:buClr>
              <a:buSzPct val="100000"/>
              <a:defRPr/>
            </a:pPr>
            <a:r>
              <a:rPr lang="fr-fr" sz="1600" b="0" i="0" u="none" baseline="0" dirty="0">
                <a:latin typeface="+mj-lt"/>
                <a:ea typeface="Segoe UI" panose="020B0502040204020203" pitchFamily="34" charset="0"/>
                <a:cs typeface="Segoe UI"/>
              </a:rPr>
              <a:t>Transformer la collaboration </a:t>
            </a:r>
            <a:br>
              <a:rPr lang="fr-fr" sz="1600" dirty="0">
                <a:latin typeface="+mj-lt"/>
                <a:ea typeface="Segoe UI" panose="020B0502040204020203" pitchFamily="34" charset="0"/>
                <a:cs typeface="Segoe UI"/>
              </a:rPr>
            </a:br>
            <a:r>
              <a:rPr lang="fr-fr" sz="1600" b="0" i="0" u="none" baseline="0" dirty="0">
                <a:latin typeface="+mj-lt"/>
                <a:ea typeface="Segoe UI" panose="020B0502040204020203" pitchFamily="34" charset="0"/>
                <a:cs typeface="Segoe UI"/>
              </a:rPr>
              <a:t>professionnelle </a:t>
            </a:r>
            <a:endParaRPr lang="fr-fr" sz="1200">
              <a:latin typeface="+mj-lt"/>
              <a:ea typeface="Segoe UI" pitchFamily="34" charset="0"/>
              <a:cs typeface="Segoe UI" pitchFamily="34" charset="0"/>
            </a:endParaRPr>
          </a:p>
        </p:txBody>
      </p:sp>
      <p:sp>
        <p:nvSpPr>
          <p:cNvPr id="28" name="Arrow: Chevron 27">
            <a:extLst>
              <a:ext uri="{FF2B5EF4-FFF2-40B4-BE49-F238E27FC236}">
                <a16:creationId xmlns:a16="http://schemas.microsoft.com/office/drawing/2014/main" id="{454685FC-0AF7-4AA8-AA81-6B5F3370EC10}"/>
              </a:ext>
            </a:extLst>
          </p:cNvPr>
          <p:cNvSpPr/>
          <p:nvPr/>
        </p:nvSpPr>
        <p:spPr bwMode="auto">
          <a:xfrm>
            <a:off x="8009774" y="2220774"/>
            <a:ext cx="3764281" cy="830997"/>
          </a:xfrm>
          <a:prstGeom prst="chevron">
            <a:avLst>
              <a:gd name="adj" fmla="val 25105"/>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lvl="0" algn="ctr" rtl="0" fontAlgn="base">
              <a:spcBef>
                <a:spcPct val="0"/>
              </a:spcBef>
              <a:spcAft>
                <a:spcPts val="1200"/>
              </a:spcAft>
              <a:buClr>
                <a:prstClr val="white"/>
              </a:buClr>
              <a:buSzPct val="100000"/>
              <a:defRPr/>
            </a:pPr>
            <a:r>
              <a:rPr lang="fr-fr" sz="1600" b="0" i="0" u="none" baseline="0" dirty="0">
                <a:latin typeface="+mj-lt"/>
                <a:ea typeface="Segoe UI" panose="020B0502040204020203" pitchFamily="34" charset="0"/>
                <a:cs typeface="Segoe UI"/>
              </a:rPr>
              <a:t>Rester protégé avec</a:t>
            </a:r>
            <a:br>
              <a:rPr lang="fr-fr" sz="1600" dirty="0">
                <a:latin typeface="+mj-lt"/>
                <a:ea typeface="Segoe UI" panose="020B0502040204020203" pitchFamily="34" charset="0"/>
                <a:cs typeface="Segoe UI" panose="020B0502040204020203" pitchFamily="34" charset="0"/>
              </a:rPr>
            </a:br>
            <a:r>
              <a:rPr lang="fr-fr" sz="1600" b="0" i="0" u="none" baseline="0" dirty="0">
                <a:latin typeface="+mj-lt"/>
                <a:ea typeface="Segoe UI" panose="020B0502040204020203" pitchFamily="34" charset="0"/>
                <a:cs typeface="Segoe UI"/>
              </a:rPr>
              <a:t>une solution de sécurité économique</a:t>
            </a:r>
          </a:p>
        </p:txBody>
      </p:sp>
      <p:sp>
        <p:nvSpPr>
          <p:cNvPr id="2" name="Oval 1">
            <a:extLst>
              <a:ext uri="{FF2B5EF4-FFF2-40B4-BE49-F238E27FC236}">
                <a16:creationId xmlns:a16="http://schemas.microsoft.com/office/drawing/2014/main" id="{49A0A9E9-5FBD-4F00-8755-7756A8090D08}"/>
              </a:ext>
            </a:extLst>
          </p:cNvPr>
          <p:cNvSpPr/>
          <p:nvPr/>
        </p:nvSpPr>
        <p:spPr bwMode="auto">
          <a:xfrm>
            <a:off x="2051049" y="1456637"/>
            <a:ext cx="845820" cy="845820"/>
          </a:xfrm>
          <a:prstGeom prst="ellipse">
            <a:avLst/>
          </a:prstGeom>
          <a:noFill/>
          <a:ln w="6350">
            <a:solidFill>
              <a:srgbClr val="4B53B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1781C86F-A99F-4CCF-9394-503C5960EFF6}"/>
              </a:ext>
            </a:extLst>
          </p:cNvPr>
          <p:cNvSpPr/>
          <p:nvPr/>
        </p:nvSpPr>
        <p:spPr bwMode="auto">
          <a:xfrm>
            <a:off x="2095499" y="1501087"/>
            <a:ext cx="756920" cy="756920"/>
          </a:xfrm>
          <a:prstGeom prst="ellipse">
            <a:avLst/>
          </a:prstGeom>
          <a:solidFill>
            <a:schemeClr val="bg1"/>
          </a:solidFill>
          <a:ln w="3175">
            <a:solidFill>
              <a:schemeClr val="bg1">
                <a:lumMod val="9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093834A0-9B1E-4233-BF39-F9ADD59F79E8}"/>
              </a:ext>
            </a:extLst>
          </p:cNvPr>
          <p:cNvSpPr/>
          <p:nvPr/>
        </p:nvSpPr>
        <p:spPr bwMode="auto">
          <a:xfrm>
            <a:off x="5760027" y="1456637"/>
            <a:ext cx="845820" cy="845820"/>
          </a:xfrm>
          <a:prstGeom prst="ellipse">
            <a:avLst/>
          </a:prstGeom>
          <a:noFill/>
          <a:ln w="6350">
            <a:solidFill>
              <a:srgbClr val="4B53B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2" name="Oval 31">
            <a:extLst>
              <a:ext uri="{FF2B5EF4-FFF2-40B4-BE49-F238E27FC236}">
                <a16:creationId xmlns:a16="http://schemas.microsoft.com/office/drawing/2014/main" id="{B0A82365-329F-4957-BE6D-92729FA27A0F}"/>
              </a:ext>
            </a:extLst>
          </p:cNvPr>
          <p:cNvSpPr/>
          <p:nvPr/>
        </p:nvSpPr>
        <p:spPr bwMode="auto">
          <a:xfrm>
            <a:off x="5804477" y="1501087"/>
            <a:ext cx="756920" cy="756920"/>
          </a:xfrm>
          <a:prstGeom prst="ellipse">
            <a:avLst/>
          </a:prstGeom>
          <a:solidFill>
            <a:schemeClr val="bg1"/>
          </a:solidFill>
          <a:ln w="3175">
            <a:solidFill>
              <a:schemeClr val="bg1">
                <a:lumMod val="9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3" name="Oval 32">
            <a:extLst>
              <a:ext uri="{FF2B5EF4-FFF2-40B4-BE49-F238E27FC236}">
                <a16:creationId xmlns:a16="http://schemas.microsoft.com/office/drawing/2014/main" id="{7E296288-BEA5-4DF6-90C8-4E1F86F13214}"/>
              </a:ext>
            </a:extLst>
          </p:cNvPr>
          <p:cNvSpPr/>
          <p:nvPr/>
        </p:nvSpPr>
        <p:spPr bwMode="auto">
          <a:xfrm>
            <a:off x="9469004" y="1456637"/>
            <a:ext cx="845820" cy="845820"/>
          </a:xfrm>
          <a:prstGeom prst="ellipse">
            <a:avLst/>
          </a:prstGeom>
          <a:noFill/>
          <a:ln w="6350">
            <a:solidFill>
              <a:srgbClr val="4B53B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4" name="Oval 33">
            <a:extLst>
              <a:ext uri="{FF2B5EF4-FFF2-40B4-BE49-F238E27FC236}">
                <a16:creationId xmlns:a16="http://schemas.microsoft.com/office/drawing/2014/main" id="{ED3AA569-B6DC-4FD2-B275-A31FA2296B9D}"/>
              </a:ext>
            </a:extLst>
          </p:cNvPr>
          <p:cNvSpPr/>
          <p:nvPr/>
        </p:nvSpPr>
        <p:spPr bwMode="auto">
          <a:xfrm>
            <a:off x="9513454" y="1501087"/>
            <a:ext cx="756920" cy="756920"/>
          </a:xfrm>
          <a:prstGeom prst="ellipse">
            <a:avLst/>
          </a:prstGeom>
          <a:solidFill>
            <a:schemeClr val="bg1"/>
          </a:solidFill>
          <a:ln w="3175">
            <a:solidFill>
              <a:schemeClr val="bg1">
                <a:lumMod val="9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72" name="Processing_E9F5" title="Icon of two interlocked gears">
            <a:extLst>
              <a:ext uri="{FF2B5EF4-FFF2-40B4-BE49-F238E27FC236}">
                <a16:creationId xmlns:a16="http://schemas.microsoft.com/office/drawing/2014/main" id="{5C6CCA35-D428-42F8-AB6B-40A41DFB7C4A}"/>
              </a:ext>
            </a:extLst>
          </p:cNvPr>
          <p:cNvSpPr>
            <a:spLocks noChangeAspect="1" noEditPoints="1"/>
          </p:cNvSpPr>
          <p:nvPr/>
        </p:nvSpPr>
        <p:spPr bwMode="auto">
          <a:xfrm>
            <a:off x="2219480" y="1657913"/>
            <a:ext cx="508958" cy="44326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cs typeface="Segoe UI"/>
            </a:endParaRPr>
          </a:p>
        </p:txBody>
      </p:sp>
      <p:sp>
        <p:nvSpPr>
          <p:cNvPr id="73" name="arrow_11" title="Icon of a circle made of two curved arrows">
            <a:extLst>
              <a:ext uri="{FF2B5EF4-FFF2-40B4-BE49-F238E27FC236}">
                <a16:creationId xmlns:a16="http://schemas.microsoft.com/office/drawing/2014/main" id="{9B1071A3-43E4-4FBB-A383-6C44C76678D5}"/>
              </a:ext>
            </a:extLst>
          </p:cNvPr>
          <p:cNvSpPr>
            <a:spLocks noChangeAspect="1" noEditPoints="1"/>
          </p:cNvSpPr>
          <p:nvPr/>
        </p:nvSpPr>
        <p:spPr bwMode="auto">
          <a:xfrm>
            <a:off x="5948910" y="1635071"/>
            <a:ext cx="468054" cy="488952"/>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74" name="Shield_EA18" title="Icon of a shield">
            <a:extLst>
              <a:ext uri="{FF2B5EF4-FFF2-40B4-BE49-F238E27FC236}">
                <a16:creationId xmlns:a16="http://schemas.microsoft.com/office/drawing/2014/main" id="{3F1DAA10-DF22-4BA3-B032-895609272A0C}"/>
              </a:ext>
            </a:extLst>
          </p:cNvPr>
          <p:cNvSpPr>
            <a:spLocks noChangeAspect="1"/>
          </p:cNvSpPr>
          <p:nvPr/>
        </p:nvSpPr>
        <p:spPr bwMode="auto">
          <a:xfrm>
            <a:off x="9671930" y="1671531"/>
            <a:ext cx="439968" cy="46841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cs typeface="Segoe UI"/>
            </a:endParaRPr>
          </a:p>
        </p:txBody>
      </p:sp>
    </p:spTree>
    <p:extLst>
      <p:ext uri="{BB962C8B-B14F-4D97-AF65-F5344CB8AC3E}">
        <p14:creationId xmlns:p14="http://schemas.microsoft.com/office/powerpoint/2010/main" val="16667170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D8A4160-BF53-4222-856C-E1BC964FBB6F}"/>
              </a:ext>
            </a:extLst>
          </p:cNvPr>
          <p:cNvSpPr/>
          <p:nvPr/>
        </p:nvSpPr>
        <p:spPr bwMode="auto">
          <a:xfrm>
            <a:off x="0" y="3013787"/>
            <a:ext cx="12192000" cy="336294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0671BCE3-B3F5-414B-B271-63F0B666BF29}"/>
              </a:ext>
            </a:extLst>
          </p:cNvPr>
          <p:cNvSpPr>
            <a:spLocks noGrp="1"/>
          </p:cNvSpPr>
          <p:nvPr>
            <p:ph type="title"/>
          </p:nvPr>
        </p:nvSpPr>
        <p:spPr>
          <a:xfrm>
            <a:off x="588263" y="180201"/>
            <a:ext cx="11018520" cy="1107996"/>
          </a:xfrm>
        </p:spPr>
        <p:txBody>
          <a:bodyPr/>
          <a:lstStyle/>
          <a:p>
            <a:pPr algn="l" rtl="0"/>
            <a:r>
              <a:rPr lang="fr-fr" b="0" i="0" u="none" baseline="0" dirty="0">
                <a:cs typeface="Segoe UI"/>
              </a:rPr>
              <a:t>Tirez parti de Microsoft Teams pour rassembler toutes vos activités en un seul endroit</a:t>
            </a:r>
            <a:endParaRPr lang="fr-fr" dirty="0">
              <a:cs typeface="Segoe UI"/>
            </a:endParaRPr>
          </a:p>
        </p:txBody>
      </p:sp>
      <p:sp>
        <p:nvSpPr>
          <p:cNvPr id="5" name="Rectangle 4">
            <a:extLst>
              <a:ext uri="{FF2B5EF4-FFF2-40B4-BE49-F238E27FC236}">
                <a16:creationId xmlns:a16="http://schemas.microsoft.com/office/drawing/2014/main" id="{17F7BC7B-30B0-497E-A790-D601357C9A7B}"/>
              </a:ext>
            </a:extLst>
          </p:cNvPr>
          <p:cNvSpPr/>
          <p:nvPr/>
        </p:nvSpPr>
        <p:spPr bwMode="auto">
          <a:xfrm>
            <a:off x="588262" y="1436687"/>
            <a:ext cx="3582607" cy="2434273"/>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FD3AF5EF-6CFF-4BA8-B116-5E6AB4EE2EC7}"/>
              </a:ext>
            </a:extLst>
          </p:cNvPr>
          <p:cNvSpPr/>
          <p:nvPr/>
        </p:nvSpPr>
        <p:spPr bwMode="auto">
          <a:xfrm>
            <a:off x="4307521" y="1436687"/>
            <a:ext cx="3582607" cy="2434273"/>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4" name="Rectangle 23">
            <a:extLst>
              <a:ext uri="{FF2B5EF4-FFF2-40B4-BE49-F238E27FC236}">
                <a16:creationId xmlns:a16="http://schemas.microsoft.com/office/drawing/2014/main" id="{F1A68C44-F926-4968-BABB-2DBD6192C8F0}"/>
              </a:ext>
            </a:extLst>
          </p:cNvPr>
          <p:cNvSpPr/>
          <p:nvPr/>
        </p:nvSpPr>
        <p:spPr bwMode="auto">
          <a:xfrm>
            <a:off x="8026780" y="1436687"/>
            <a:ext cx="3582607" cy="2434273"/>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pic>
        <p:nvPicPr>
          <p:cNvPr id="25" name="Picture 24">
            <a:extLst>
              <a:ext uri="{FF2B5EF4-FFF2-40B4-BE49-F238E27FC236}">
                <a16:creationId xmlns:a16="http://schemas.microsoft.com/office/drawing/2014/main" id="{8DFD6C78-1A9F-4DFE-8EA7-EE850CC3883B}"/>
              </a:ext>
            </a:extLst>
          </p:cNvPr>
          <p:cNvPicPr>
            <a:picLocks noChangeAspect="1"/>
          </p:cNvPicPr>
          <p:nvPr/>
        </p:nvPicPr>
        <p:blipFill rotWithShape="1">
          <a:blip r:embed="rId2"/>
          <a:stretch/>
        </p:blipFill>
        <p:spPr>
          <a:xfrm>
            <a:off x="654065" y="1503489"/>
            <a:ext cx="3451001" cy="2300668"/>
          </a:xfrm>
          <a:prstGeom prst="rect">
            <a:avLst/>
          </a:prstGeom>
        </p:spPr>
      </p:pic>
      <p:pic>
        <p:nvPicPr>
          <p:cNvPr id="26" name="Picture 25">
            <a:extLst>
              <a:ext uri="{FF2B5EF4-FFF2-40B4-BE49-F238E27FC236}">
                <a16:creationId xmlns:a16="http://schemas.microsoft.com/office/drawing/2014/main" id="{830BDDA5-FDBD-4E45-B226-175E97966AD3}"/>
              </a:ext>
            </a:extLst>
          </p:cNvPr>
          <p:cNvPicPr>
            <a:picLocks noChangeAspect="1"/>
          </p:cNvPicPr>
          <p:nvPr/>
        </p:nvPicPr>
        <p:blipFill>
          <a:blip r:embed="rId3"/>
          <a:stretch>
            <a:fillRect/>
          </a:stretch>
        </p:blipFill>
        <p:spPr>
          <a:xfrm>
            <a:off x="4373324" y="1503489"/>
            <a:ext cx="3451001" cy="2300668"/>
          </a:xfrm>
          <a:prstGeom prst="rect">
            <a:avLst/>
          </a:prstGeom>
        </p:spPr>
      </p:pic>
      <p:pic>
        <p:nvPicPr>
          <p:cNvPr id="27" name="Picture 26">
            <a:extLst>
              <a:ext uri="{FF2B5EF4-FFF2-40B4-BE49-F238E27FC236}">
                <a16:creationId xmlns:a16="http://schemas.microsoft.com/office/drawing/2014/main" id="{E1CCBE2B-1782-4C56-8185-BBE9818CE8BC}"/>
              </a:ext>
            </a:extLst>
          </p:cNvPr>
          <p:cNvPicPr>
            <a:picLocks noChangeAspect="1"/>
          </p:cNvPicPr>
          <p:nvPr/>
        </p:nvPicPr>
        <p:blipFill rotWithShape="1">
          <a:blip r:embed="rId4"/>
          <a:stretch/>
        </p:blipFill>
        <p:spPr>
          <a:xfrm>
            <a:off x="8092583" y="1503489"/>
            <a:ext cx="3451001" cy="2300668"/>
          </a:xfrm>
          <a:prstGeom prst="rect">
            <a:avLst/>
          </a:prstGeom>
        </p:spPr>
      </p:pic>
      <p:sp>
        <p:nvSpPr>
          <p:cNvPr id="28" name="TextBox 27">
            <a:extLst>
              <a:ext uri="{FF2B5EF4-FFF2-40B4-BE49-F238E27FC236}">
                <a16:creationId xmlns:a16="http://schemas.microsoft.com/office/drawing/2014/main" id="{51B004C8-EF21-456F-A137-7C1C949C3A19}"/>
              </a:ext>
            </a:extLst>
          </p:cNvPr>
          <p:cNvSpPr txBox="1"/>
          <p:nvPr/>
        </p:nvSpPr>
        <p:spPr>
          <a:xfrm>
            <a:off x="654065" y="4083483"/>
            <a:ext cx="3415102" cy="153888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rtl="0"/>
            <a:r>
              <a:rPr lang="fr-fr" sz="2000" b="0" i="0" u="none" baseline="0" dirty="0">
                <a:solidFill>
                  <a:srgbClr val="4B53BC"/>
                </a:solidFill>
                <a:latin typeface="Segoe UI Semibold"/>
                <a:ea typeface="+mn-lt"/>
                <a:cs typeface="Segoe UI Semibold"/>
              </a:rPr>
              <a:t>Communiquez en organisant des chats et des réunions</a:t>
            </a:r>
          </a:p>
          <a:p>
            <a:pPr algn="ctr"/>
            <a:r>
              <a:rPr lang="fr-fr" sz="2000" b="0" i="0" u="none" baseline="0" dirty="0">
                <a:ea typeface="+mn-lt"/>
                <a:cs typeface="+mn-lt"/>
              </a:rPr>
              <a:t>Restez en contact avec votre équipe grâce aux fonctions </a:t>
            </a:r>
            <a:br>
              <a:rPr lang="fr-fr" sz="2000" b="0" i="0" u="none" baseline="0" dirty="0">
                <a:ea typeface="+mn-lt"/>
                <a:cs typeface="+mn-lt"/>
              </a:rPr>
            </a:br>
            <a:r>
              <a:rPr lang="fr-fr" sz="2000" b="0" i="0" u="none" baseline="0" dirty="0">
                <a:ea typeface="+mn-lt"/>
                <a:cs typeface="+mn-lt"/>
              </a:rPr>
              <a:t>de chat et de vidéo</a:t>
            </a:r>
            <a:r>
              <a:rPr lang="fr-fr" sz="2000" dirty="0">
                <a:ea typeface="+mn-lt"/>
                <a:cs typeface="+mn-lt"/>
              </a:rPr>
              <a:t> </a:t>
            </a:r>
            <a:endParaRPr lang="fr-fr" sz="2000" b="0" i="0" u="none" baseline="0" dirty="0">
              <a:ea typeface="+mn-lt"/>
              <a:cs typeface="+mn-lt"/>
            </a:endParaRPr>
          </a:p>
        </p:txBody>
      </p:sp>
      <p:sp>
        <p:nvSpPr>
          <p:cNvPr id="29" name="TextBox 28">
            <a:extLst>
              <a:ext uri="{FF2B5EF4-FFF2-40B4-BE49-F238E27FC236}">
                <a16:creationId xmlns:a16="http://schemas.microsoft.com/office/drawing/2014/main" id="{7BDA6E7D-4854-465C-A715-4CE64CA31C7D}"/>
              </a:ext>
            </a:extLst>
          </p:cNvPr>
          <p:cNvSpPr txBox="1"/>
          <p:nvPr/>
        </p:nvSpPr>
        <p:spPr>
          <a:xfrm>
            <a:off x="4367301" y="4083483"/>
            <a:ext cx="3457021" cy="215443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rtl="0"/>
            <a:r>
              <a:rPr lang="fr-fr" sz="2000" b="0" i="0" u="none" baseline="0" dirty="0">
                <a:solidFill>
                  <a:srgbClr val="4B53BC"/>
                </a:solidFill>
                <a:latin typeface="Segoe UI Semibold"/>
                <a:ea typeface="+mn-lt"/>
                <a:cs typeface="Segoe UI Semibold"/>
              </a:rPr>
              <a:t>Collaborez et personnalisez avec les applications </a:t>
            </a:r>
            <a:br>
              <a:rPr lang="fr-fr" sz="2000" b="0" i="0" u="none" baseline="0" dirty="0">
                <a:latin typeface="Segoe UI Semibold" panose="020B0702040204020203" pitchFamily="34" charset="0"/>
                <a:ea typeface="+mn-lt"/>
                <a:cs typeface="Segoe UI Semibold" panose="020B0702040204020203" pitchFamily="34" charset="0"/>
              </a:rPr>
            </a:br>
            <a:r>
              <a:rPr lang="fr-fr" sz="2000" b="0" i="0" u="none" baseline="0" dirty="0">
                <a:solidFill>
                  <a:srgbClr val="4B53BC"/>
                </a:solidFill>
                <a:latin typeface="Segoe UI Semibold"/>
                <a:ea typeface="+mn-lt"/>
                <a:cs typeface="Segoe UI Semibold"/>
              </a:rPr>
              <a:t>Office 365</a:t>
            </a:r>
          </a:p>
          <a:p>
            <a:pPr algn="ctr" rtl="0"/>
            <a:r>
              <a:rPr lang="fr-fr" sz="2000" b="0" i="0" u="none" baseline="0" dirty="0">
                <a:ea typeface="+mn-lt"/>
                <a:cs typeface="+mn-lt"/>
              </a:rPr>
              <a:t>Adaptez</a:t>
            </a:r>
            <a:r>
              <a:rPr lang="fr-fr" sz="2000" b="0" i="0" u="none" baseline="0" dirty="0">
                <a:cs typeface="Segoe UI"/>
              </a:rPr>
              <a:t> votre espace de travail et dopez la productivité grâce aux fichiers partagés </a:t>
            </a:r>
            <a:br>
              <a:rPr lang="fr-fr" sz="2000" b="0" i="0" u="none" baseline="0" dirty="0">
                <a:cs typeface="Segoe UI"/>
              </a:rPr>
            </a:br>
            <a:r>
              <a:rPr lang="fr-fr" sz="2000" b="0" i="0" u="none" baseline="0" dirty="0">
                <a:cs typeface="Segoe UI"/>
              </a:rPr>
              <a:t>et aux applications Office</a:t>
            </a:r>
          </a:p>
        </p:txBody>
      </p:sp>
      <p:sp>
        <p:nvSpPr>
          <p:cNvPr id="30" name="TextBox 29">
            <a:extLst>
              <a:ext uri="{FF2B5EF4-FFF2-40B4-BE49-F238E27FC236}">
                <a16:creationId xmlns:a16="http://schemas.microsoft.com/office/drawing/2014/main" id="{222A62FF-9375-449E-89D6-91F5B26EDF22}"/>
              </a:ext>
            </a:extLst>
          </p:cNvPr>
          <p:cNvSpPr txBox="1"/>
          <p:nvPr/>
        </p:nvSpPr>
        <p:spPr>
          <a:xfrm>
            <a:off x="8092583" y="4083483"/>
            <a:ext cx="3445349" cy="184665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rtl="0"/>
            <a:r>
              <a:rPr lang="fr-fr" sz="2000" b="0" i="0" u="none" baseline="0" dirty="0">
                <a:solidFill>
                  <a:srgbClr val="4B53BC"/>
                </a:solidFill>
                <a:latin typeface="Segoe UI Semibold"/>
                <a:ea typeface="+mn-lt"/>
                <a:cs typeface="Segoe UI Semibold"/>
              </a:rPr>
              <a:t>Travaillez en toute sécurité </a:t>
            </a:r>
            <a:br>
              <a:rPr lang="fr-fr" sz="2000" b="0" i="0" u="none" baseline="0" dirty="0">
                <a:latin typeface="Segoe UI Semibold" panose="020B0702040204020203" pitchFamily="34" charset="0"/>
                <a:ea typeface="+mn-lt"/>
                <a:cs typeface="Segoe UI Semibold" panose="020B0702040204020203" pitchFamily="34" charset="0"/>
              </a:rPr>
            </a:br>
            <a:r>
              <a:rPr lang="fr-fr" sz="2000" b="0" i="0" u="none" baseline="0" dirty="0">
                <a:solidFill>
                  <a:srgbClr val="4B53BC"/>
                </a:solidFill>
                <a:latin typeface="Segoe UI Semibold"/>
                <a:ea typeface="+mn-lt"/>
                <a:cs typeface="Segoe UI Semibold"/>
              </a:rPr>
              <a:t>et en toute confiance</a:t>
            </a:r>
          </a:p>
          <a:p>
            <a:pPr algn="ctr" rtl="0"/>
            <a:r>
              <a:rPr lang="fr-fr" sz="2000" b="0" i="0" u="none" baseline="0" dirty="0">
                <a:ea typeface="+mn-lt"/>
                <a:cs typeface="+mn-lt"/>
              </a:rPr>
              <a:t>Bénéficiez des fonctions </a:t>
            </a:r>
            <a:br>
              <a:rPr lang="fr-fr" sz="2000" b="0" i="0" u="none" baseline="0" dirty="0">
                <a:ea typeface="+mn-lt"/>
                <a:cs typeface="+mn-lt"/>
              </a:rPr>
            </a:br>
            <a:r>
              <a:rPr lang="fr-fr" sz="2000" b="0" i="0" u="none" baseline="0" dirty="0">
                <a:ea typeface="+mn-lt"/>
                <a:cs typeface="+mn-lt"/>
              </a:rPr>
              <a:t>de sécurité, de conformité</a:t>
            </a:r>
            <a:br>
              <a:rPr lang="fr-fr" sz="2000" dirty="0">
                <a:ea typeface="+mn-lt"/>
                <a:cs typeface="+mn-lt"/>
              </a:rPr>
            </a:br>
            <a:r>
              <a:rPr lang="fr-fr" sz="2000" b="0" i="0" u="none" baseline="0" dirty="0">
                <a:ea typeface="+mn-lt"/>
                <a:cs typeface="+mn-lt"/>
              </a:rPr>
              <a:t>et de facilité de gestion </a:t>
            </a:r>
            <a:br>
              <a:rPr lang="fr-fr" sz="2000" b="0" i="0" u="none" baseline="0" dirty="0">
                <a:ea typeface="+mn-lt"/>
                <a:cs typeface="+mn-lt"/>
              </a:rPr>
            </a:br>
            <a:r>
              <a:rPr lang="fr-fr" sz="2000" b="0" i="0" u="none" baseline="0" dirty="0">
                <a:ea typeface="+mn-lt"/>
                <a:cs typeface="+mn-lt"/>
              </a:rPr>
              <a:t>de niveau entreprise</a:t>
            </a:r>
          </a:p>
        </p:txBody>
      </p:sp>
      <p:grpSp>
        <p:nvGrpSpPr>
          <p:cNvPr id="6" name="Group 5">
            <a:extLst>
              <a:ext uri="{FF2B5EF4-FFF2-40B4-BE49-F238E27FC236}">
                <a16:creationId xmlns:a16="http://schemas.microsoft.com/office/drawing/2014/main" id="{BEDFA343-447C-42D2-A1C5-4F9503F98F7D}"/>
              </a:ext>
            </a:extLst>
          </p:cNvPr>
          <p:cNvGrpSpPr/>
          <p:nvPr/>
        </p:nvGrpSpPr>
        <p:grpSpPr>
          <a:xfrm>
            <a:off x="4236183" y="3026798"/>
            <a:ext cx="3722914" cy="3241649"/>
            <a:chOff x="4236183" y="3804157"/>
            <a:chExt cx="3722914" cy="2344716"/>
          </a:xfrm>
        </p:grpSpPr>
        <p:cxnSp>
          <p:nvCxnSpPr>
            <p:cNvPr id="3" name="Straight Connector 2">
              <a:extLst>
                <a:ext uri="{FF2B5EF4-FFF2-40B4-BE49-F238E27FC236}">
                  <a16:creationId xmlns:a16="http://schemas.microsoft.com/office/drawing/2014/main" id="{6B8BB7E3-E629-4310-919E-B7CB0D312925}"/>
                </a:ext>
              </a:extLst>
            </p:cNvPr>
            <p:cNvCxnSpPr/>
            <p:nvPr/>
          </p:nvCxnSpPr>
          <p:spPr>
            <a:xfrm>
              <a:off x="4236183" y="3804157"/>
              <a:ext cx="0" cy="2344716"/>
            </a:xfrm>
            <a:prstGeom prst="line">
              <a:avLst/>
            </a:prstGeom>
            <a:ln w="3175">
              <a:solidFill>
                <a:srgbClr val="4B53BC"/>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9BE668C-3679-45C1-B9F6-541E53B9DF48}"/>
                </a:ext>
              </a:extLst>
            </p:cNvPr>
            <p:cNvCxnSpPr/>
            <p:nvPr/>
          </p:nvCxnSpPr>
          <p:spPr>
            <a:xfrm>
              <a:off x="7959097" y="3804157"/>
              <a:ext cx="0" cy="2344716"/>
            </a:xfrm>
            <a:prstGeom prst="line">
              <a:avLst/>
            </a:prstGeom>
            <a:ln w="3175">
              <a:solidFill>
                <a:srgbClr val="4B53BC"/>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0701884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A2D98B9B-F5E1-4843-A613-99B94EA02FAB}"/>
              </a:ext>
            </a:extLst>
          </p:cNvPr>
          <p:cNvSpPr>
            <a:spLocks noGrp="1"/>
          </p:cNvSpPr>
          <p:nvPr>
            <p:ph type="title"/>
          </p:nvPr>
        </p:nvSpPr>
        <p:spPr/>
        <p:txBody>
          <a:bodyPr/>
          <a:lstStyle/>
          <a:p>
            <a:pPr algn="l" rtl="0"/>
            <a:r>
              <a:rPr lang="fr-fr" b="0" i="0" u="none" baseline="0"/>
              <a:t>Communiquez par chat</a:t>
            </a:r>
            <a:endParaRPr lang="fr-fr" dirty="0"/>
          </a:p>
        </p:txBody>
      </p:sp>
      <p:sp>
        <p:nvSpPr>
          <p:cNvPr id="17" name="Rectangle: Top Corners Rounded 16">
            <a:extLst>
              <a:ext uri="{FF2B5EF4-FFF2-40B4-BE49-F238E27FC236}">
                <a16:creationId xmlns:a16="http://schemas.microsoft.com/office/drawing/2014/main" id="{C1BEC728-5A75-468E-8C58-274094571629}"/>
              </a:ext>
            </a:extLst>
          </p:cNvPr>
          <p:cNvSpPr/>
          <p:nvPr/>
        </p:nvSpPr>
        <p:spPr bwMode="auto">
          <a:xfrm rot="16200000">
            <a:off x="6526215" y="472280"/>
            <a:ext cx="4838697" cy="6492875"/>
          </a:xfrm>
          <a:prstGeom prst="round2SameRect">
            <a:avLst>
              <a:gd name="adj1" fmla="val 1874"/>
              <a:gd name="adj2" fmla="val 0"/>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rtl="0" fontAlgn="base">
              <a:spcBef>
                <a:spcPct val="0"/>
              </a:spcBef>
              <a:spcAft>
                <a:spcPct val="0"/>
              </a:spcAft>
            </a:pPr>
            <a:endParaRPr lang="fr-fr" sz="2400" dirty="0" err="1">
              <a:gradFill>
                <a:gsLst>
                  <a:gs pos="0">
                    <a:srgbClr val="FFFFFF"/>
                  </a:gs>
                  <a:gs pos="100000">
                    <a:srgbClr val="FFFFFF"/>
                  </a:gs>
                </a:gsLst>
                <a:lin ang="5400000" scaled="0"/>
              </a:gradFill>
              <a:cs typeface="Segoe UI" pitchFamily="34" charset="0"/>
            </a:endParaRPr>
          </a:p>
        </p:txBody>
      </p:sp>
      <p:pic>
        <p:nvPicPr>
          <p:cNvPr id="18" name="Picture 17" descr="A screenshot of a computer&#10;&#10;Description generated with very high confidence">
            <a:extLst>
              <a:ext uri="{FF2B5EF4-FFF2-40B4-BE49-F238E27FC236}">
                <a16:creationId xmlns:a16="http://schemas.microsoft.com/office/drawing/2014/main" id="{B5617BE0-B26B-423B-8DCC-22EB220DC1F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8483" t="4892" b="11497"/>
          <a:stretch/>
        </p:blipFill>
        <p:spPr>
          <a:xfrm>
            <a:off x="5840803" y="1446113"/>
            <a:ext cx="6351197" cy="4545208"/>
          </a:xfrm>
          <a:prstGeom prst="roundRect">
            <a:avLst>
              <a:gd name="adj" fmla="val 2096"/>
            </a:avLst>
          </a:prstGeom>
        </p:spPr>
      </p:pic>
      <p:grpSp>
        <p:nvGrpSpPr>
          <p:cNvPr id="5" name="Group 4">
            <a:extLst>
              <a:ext uri="{FF2B5EF4-FFF2-40B4-BE49-F238E27FC236}">
                <a16:creationId xmlns:a16="http://schemas.microsoft.com/office/drawing/2014/main" id="{E29E9B9E-2FC0-483D-A62F-9CE36BEA26A7}"/>
              </a:ext>
            </a:extLst>
          </p:cNvPr>
          <p:cNvGrpSpPr/>
          <p:nvPr/>
        </p:nvGrpSpPr>
        <p:grpSpPr>
          <a:xfrm>
            <a:off x="11082530" y="394996"/>
            <a:ext cx="1109472" cy="553999"/>
            <a:chOff x="11082530" y="394996"/>
            <a:chExt cx="1109472" cy="553999"/>
          </a:xfrm>
        </p:grpSpPr>
        <p:sp>
          <p:nvSpPr>
            <p:cNvPr id="3" name="Rectangle: Top Corners Rounded 2">
              <a:extLst>
                <a:ext uri="{FF2B5EF4-FFF2-40B4-BE49-F238E27FC236}">
                  <a16:creationId xmlns:a16="http://schemas.microsoft.com/office/drawing/2014/main" id="{7E318688-BE2E-4E00-BD4A-95E5BA09C527}"/>
                </a:ext>
              </a:extLst>
            </p:cNvPr>
            <p:cNvSpPr/>
            <p:nvPr/>
          </p:nvSpPr>
          <p:spPr bwMode="auto">
            <a:xfrm rot="16200000">
              <a:off x="11360266" y="117260"/>
              <a:ext cx="553999" cy="1109472"/>
            </a:xfrm>
            <a:prstGeom prst="round2SameRect">
              <a:avLst>
                <a:gd name="adj1" fmla="val 50000"/>
                <a:gd name="adj2" fmla="val 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20" name="Oval 19">
              <a:extLst>
                <a:ext uri="{FF2B5EF4-FFF2-40B4-BE49-F238E27FC236}">
                  <a16:creationId xmlns:a16="http://schemas.microsoft.com/office/drawing/2014/main" id="{92035F06-20F8-459F-BB69-175185188C1E}"/>
                </a:ext>
              </a:extLst>
            </p:cNvPr>
            <p:cNvSpPr/>
            <p:nvPr/>
          </p:nvSpPr>
          <p:spPr bwMode="auto">
            <a:xfrm>
              <a:off x="11107990" y="418917"/>
              <a:ext cx="506160" cy="50615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rtl="0" fontAlgn="base">
                <a:lnSpc>
                  <a:spcPct val="90000"/>
                </a:lnSpc>
                <a:spcBef>
                  <a:spcPct val="0"/>
                </a:spcBef>
                <a:spcAft>
                  <a:spcPct val="0"/>
                </a:spcAft>
              </a:pPr>
              <a:endParaRPr lang="fr-fr"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ular Callout 35">
              <a:extLst>
                <a:ext uri="{FF2B5EF4-FFF2-40B4-BE49-F238E27FC236}">
                  <a16:creationId xmlns:a16="http://schemas.microsoft.com/office/drawing/2014/main" id="{754D0F4E-0F79-4886-990A-5B526913866C}"/>
                </a:ext>
              </a:extLst>
            </p:cNvPr>
            <p:cNvSpPr/>
            <p:nvPr/>
          </p:nvSpPr>
          <p:spPr>
            <a:xfrm>
              <a:off x="11208511" y="567442"/>
              <a:ext cx="305118" cy="209108"/>
            </a:xfrm>
            <a:prstGeom prst="wedgeRectCallout">
              <a:avLst>
                <a:gd name="adj1" fmla="val -34098"/>
                <a:gd name="adj2" fmla="val 80367"/>
              </a:avLst>
            </a:prstGeom>
            <a:noFill/>
            <a:ln w="12700">
              <a:solidFill>
                <a:srgbClr val="4B53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defRPr/>
              </a:pPr>
              <a:endParaRPr lang="fr-fr">
                <a:solidFill>
                  <a:srgbClr val="E6E6E6"/>
                </a:solidFill>
                <a:latin typeface="Segoe UI"/>
              </a:endParaRPr>
            </a:p>
          </p:txBody>
        </p:sp>
      </p:grpSp>
      <p:sp>
        <p:nvSpPr>
          <p:cNvPr id="4" name="Rectangle: Top Corners Rounded 3">
            <a:extLst>
              <a:ext uri="{FF2B5EF4-FFF2-40B4-BE49-F238E27FC236}">
                <a16:creationId xmlns:a16="http://schemas.microsoft.com/office/drawing/2014/main" id="{44667CC6-9253-4378-9ED1-4AC260526945}"/>
              </a:ext>
            </a:extLst>
          </p:cNvPr>
          <p:cNvSpPr/>
          <p:nvPr/>
        </p:nvSpPr>
        <p:spPr bwMode="auto">
          <a:xfrm rot="16200000">
            <a:off x="6331248" y="408286"/>
            <a:ext cx="5100641" cy="6620862"/>
          </a:xfrm>
          <a:prstGeom prst="round2SameRect">
            <a:avLst>
              <a:gd name="adj1" fmla="val 2540"/>
              <a:gd name="adj2" fmla="val 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nvGrpSpPr>
          <p:cNvPr id="7" name="Group 6">
            <a:extLst>
              <a:ext uri="{FF2B5EF4-FFF2-40B4-BE49-F238E27FC236}">
                <a16:creationId xmlns:a16="http://schemas.microsoft.com/office/drawing/2014/main" id="{71222EC2-15A7-4562-835D-421E96EDCF1C}"/>
              </a:ext>
            </a:extLst>
          </p:cNvPr>
          <p:cNvGrpSpPr/>
          <p:nvPr/>
        </p:nvGrpSpPr>
        <p:grpSpPr>
          <a:xfrm>
            <a:off x="0" y="1719134"/>
            <a:ext cx="5575201" cy="4549896"/>
            <a:chOff x="0" y="1719134"/>
            <a:chExt cx="5575201" cy="4549896"/>
          </a:xfrm>
        </p:grpSpPr>
        <p:sp>
          <p:nvSpPr>
            <p:cNvPr id="22" name="Freeform: Shape 21">
              <a:extLst>
                <a:ext uri="{FF2B5EF4-FFF2-40B4-BE49-F238E27FC236}">
                  <a16:creationId xmlns:a16="http://schemas.microsoft.com/office/drawing/2014/main" id="{4A1BF7DE-25FD-4FB9-945C-C9F2E5F59785}"/>
                </a:ext>
              </a:extLst>
            </p:cNvPr>
            <p:cNvSpPr/>
            <p:nvPr/>
          </p:nvSpPr>
          <p:spPr bwMode="auto">
            <a:xfrm>
              <a:off x="588263" y="1720867"/>
              <a:ext cx="4986938" cy="929616"/>
            </a:xfrm>
            <a:custGeom>
              <a:avLst/>
              <a:gdLst>
                <a:gd name="connsiteX0" fmla="*/ 126363 w 4986938"/>
                <a:gd name="connsiteY0" fmla="*/ 0 h 929616"/>
                <a:gd name="connsiteX1" fmla="*/ 4986938 w 4986938"/>
                <a:gd name="connsiteY1" fmla="*/ 0 h 929616"/>
                <a:gd name="connsiteX2" fmla="*/ 4986938 w 4986938"/>
                <a:gd name="connsiteY2" fmla="*/ 929616 h 929616"/>
                <a:gd name="connsiteX3" fmla="*/ 0 w 4986938"/>
                <a:gd name="connsiteY3" fmla="*/ 929616 h 929616"/>
                <a:gd name="connsiteX4" fmla="*/ 0 w 4986938"/>
                <a:gd name="connsiteY4" fmla="*/ 126363 h 929616"/>
                <a:gd name="connsiteX5" fmla="*/ 126363 w 4986938"/>
                <a:gd name="connsiteY5" fmla="*/ 0 h 92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6938" h="929616">
                  <a:moveTo>
                    <a:pt x="126363" y="0"/>
                  </a:moveTo>
                  <a:lnTo>
                    <a:pt x="4986938" y="0"/>
                  </a:lnTo>
                  <a:lnTo>
                    <a:pt x="4986938" y="929616"/>
                  </a:lnTo>
                  <a:lnTo>
                    <a:pt x="0" y="929616"/>
                  </a:lnTo>
                  <a:lnTo>
                    <a:pt x="0" y="126363"/>
                  </a:lnTo>
                  <a:cubicBezTo>
                    <a:pt x="0" y="56575"/>
                    <a:pt x="56575" y="0"/>
                    <a:pt x="126363" y="0"/>
                  </a:cubicBezTo>
                  <a:close/>
                </a:path>
              </a:pathLst>
            </a:cu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lgn="l" defTabSz="932472" rtl="0" fontAlgn="base">
                <a:spcBef>
                  <a:spcPct val="0"/>
                </a:spcBef>
                <a:spcAft>
                  <a:spcPct val="0"/>
                </a:spcAft>
              </a:pPr>
              <a:r>
                <a:rPr lang="fr-fr" sz="2200" b="0" i="0" u="none" baseline="0">
                  <a:solidFill>
                    <a:schemeClr val="bg1"/>
                  </a:solidFill>
                  <a:latin typeface="+mj-lt"/>
                  <a:ea typeface="Segoe UI" pitchFamily="34" charset="0"/>
                  <a:cs typeface="Segoe UI" pitchFamily="34" charset="0"/>
                </a:rPr>
                <a:t>Communiquez facilement et </a:t>
              </a:r>
              <a:br>
                <a:rPr lang="fr-fr" sz="2200">
                  <a:solidFill>
                    <a:schemeClr val="bg1"/>
                  </a:solidFill>
                  <a:latin typeface="+mj-lt"/>
                  <a:ea typeface="Segoe UI" pitchFamily="34" charset="0"/>
                  <a:cs typeface="Segoe UI" pitchFamily="34" charset="0"/>
                </a:rPr>
              </a:br>
              <a:r>
                <a:rPr lang="fr-fr" sz="2200" b="0" i="0" u="none" baseline="0">
                  <a:solidFill>
                    <a:schemeClr val="bg1"/>
                  </a:solidFill>
                  <a:latin typeface="+mj-lt"/>
                  <a:ea typeface="Segoe UI" pitchFamily="34" charset="0"/>
                  <a:cs typeface="Segoe UI" pitchFamily="34" charset="0"/>
                </a:rPr>
                <a:t>gardez votre équipe informée</a:t>
              </a:r>
            </a:p>
          </p:txBody>
        </p:sp>
        <p:sp>
          <p:nvSpPr>
            <p:cNvPr id="2" name="Arrow: Bent 1">
              <a:extLst>
                <a:ext uri="{FF2B5EF4-FFF2-40B4-BE49-F238E27FC236}">
                  <a16:creationId xmlns:a16="http://schemas.microsoft.com/office/drawing/2014/main" id="{5A1209A4-5D35-426C-84BC-E26308B73CE7}"/>
                </a:ext>
              </a:extLst>
            </p:cNvPr>
            <p:cNvSpPr/>
            <p:nvPr/>
          </p:nvSpPr>
          <p:spPr bwMode="auto">
            <a:xfrm>
              <a:off x="588263" y="1719134"/>
              <a:ext cx="4948937" cy="2173288"/>
            </a:xfrm>
            <a:prstGeom prst="bentArrow">
              <a:avLst>
                <a:gd name="adj1" fmla="val 25000"/>
                <a:gd name="adj2" fmla="val 0"/>
                <a:gd name="adj3" fmla="val 25000"/>
                <a:gd name="adj4" fmla="val 556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16" name="Arrow: Bent 15">
              <a:extLst>
                <a:ext uri="{FF2B5EF4-FFF2-40B4-BE49-F238E27FC236}">
                  <a16:creationId xmlns:a16="http://schemas.microsoft.com/office/drawing/2014/main" id="{6BD3D868-E735-49A5-9313-86C1ACCAA830}"/>
                </a:ext>
              </a:extLst>
            </p:cNvPr>
            <p:cNvSpPr/>
            <p:nvPr/>
          </p:nvSpPr>
          <p:spPr bwMode="auto">
            <a:xfrm flipH="1" flipV="1">
              <a:off x="0" y="3541711"/>
              <a:ext cx="588262" cy="2727319"/>
            </a:xfrm>
            <a:prstGeom prst="bentArrow">
              <a:avLst>
                <a:gd name="adj1" fmla="val 25000"/>
                <a:gd name="adj2" fmla="val 0"/>
                <a:gd name="adj3" fmla="val 25000"/>
                <a:gd name="adj4" fmla="val 20514"/>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F7A7E708-6DDE-440D-9B99-A32FFDF4A025}"/>
                </a:ext>
              </a:extLst>
            </p:cNvPr>
            <p:cNvSpPr/>
            <p:nvPr/>
          </p:nvSpPr>
          <p:spPr>
            <a:xfrm>
              <a:off x="420924" y="2730764"/>
              <a:ext cx="4878151" cy="3477875"/>
            </a:xfrm>
            <a:prstGeom prst="rect">
              <a:avLst/>
            </a:prstGeom>
          </p:spPr>
          <p:txBody>
            <a:bodyPr wrap="square" anchor="t">
              <a:spAutoFit/>
            </a:bodyPr>
            <a:lstStyle/>
            <a:p>
              <a:pPr marL="285750" indent="-285750" algn="l" rtl="0" fontAlgn="base">
                <a:spcBef>
                  <a:spcPts val="1200"/>
                </a:spcBef>
                <a:buClr>
                  <a:srgbClr val="4B53BC"/>
                </a:buClr>
                <a:buSzPct val="100000"/>
                <a:buBlip>
                  <a:blip r:embed="rId4"/>
                </a:buBlip>
                <a:defRPr/>
              </a:pPr>
              <a:r>
                <a:rPr lang="fr-fr" b="0" i="0" u="none" baseline="0" dirty="0">
                  <a:cs typeface="Segoe UI"/>
                </a:rPr>
                <a:t>Chats permanents et contextuels sous forme de fils de discussion</a:t>
              </a:r>
            </a:p>
            <a:p>
              <a:pPr marL="285750" indent="-285750" algn="l" rtl="0" fontAlgn="base">
                <a:spcBef>
                  <a:spcPts val="1200"/>
                </a:spcBef>
                <a:buClr>
                  <a:srgbClr val="4B53BC"/>
                </a:buClr>
                <a:buSzPct val="100000"/>
                <a:buBlip>
                  <a:blip r:embed="rId4"/>
                </a:buBlip>
                <a:defRPr/>
              </a:pPr>
              <a:r>
                <a:rPr lang="fr-fr" b="0" i="0" u="none" baseline="0" dirty="0">
                  <a:cs typeface="Segoe UI"/>
                </a:rPr>
                <a:t>Chats privés pour des conversations individuelles ou en groupe</a:t>
              </a:r>
            </a:p>
            <a:p>
              <a:pPr marL="285750" indent="-285750" algn="l" rtl="0" fontAlgn="base">
                <a:spcBef>
                  <a:spcPts val="1200"/>
                </a:spcBef>
                <a:buClr>
                  <a:srgbClr val="4B53BC"/>
                </a:buClr>
                <a:buSzPct val="100000"/>
                <a:buBlip>
                  <a:blip r:embed="rId4"/>
                </a:buBlip>
                <a:defRPr/>
              </a:pPr>
              <a:r>
                <a:rPr lang="fr-fr" b="0" i="0" u="none" baseline="0" dirty="0">
                  <a:cs typeface="Segoe UI"/>
                </a:rPr>
                <a:t>Partage d</a:t>
              </a:r>
              <a:r>
                <a:rPr lang="fr-FR" b="0" i="0" u="none" baseline="0" dirty="0">
                  <a:cs typeface="Segoe UI"/>
                </a:rPr>
                <a:t>’</a:t>
              </a:r>
              <a:r>
                <a:rPr lang="fr-fr" b="0" i="0" u="none" baseline="0" dirty="0">
                  <a:cs typeface="Segoe UI"/>
                </a:rPr>
                <a:t>informations de façon ouverte </a:t>
              </a:r>
              <a:br>
                <a:rPr lang="fr-fr" b="0" i="0" u="none" baseline="0" dirty="0">
                  <a:cs typeface="Segoe UI"/>
                </a:rPr>
              </a:br>
              <a:r>
                <a:rPr lang="fr-fr" b="0" i="0" u="none" baseline="0" dirty="0">
                  <a:cs typeface="Segoe UI"/>
                </a:rPr>
                <a:t>et transparente</a:t>
              </a:r>
            </a:p>
            <a:p>
              <a:pPr marL="285750" indent="-285750" algn="l" rtl="0" fontAlgn="base">
                <a:spcBef>
                  <a:spcPts val="1200"/>
                </a:spcBef>
                <a:buClr>
                  <a:srgbClr val="4B53BC"/>
                </a:buClr>
                <a:buSzPct val="100000"/>
                <a:buBlip>
                  <a:blip r:embed="rId4"/>
                </a:buBlip>
                <a:defRPr/>
              </a:pPr>
              <a:r>
                <a:rPr lang="fr-fr" b="0" i="0" u="none" baseline="0" dirty="0">
                  <a:cs typeface="Segoe UI"/>
                </a:rPr>
                <a:t>Communication entre différentes zones géographiques </a:t>
              </a:r>
            </a:p>
            <a:p>
              <a:pPr marL="285750" indent="-285750" algn="l" rtl="0" fontAlgn="base">
                <a:spcBef>
                  <a:spcPts val="1200"/>
                </a:spcBef>
                <a:buClr>
                  <a:srgbClr val="4B53BC"/>
                </a:buClr>
                <a:buSzPct val="100000"/>
                <a:buBlip>
                  <a:blip r:embed="rId4"/>
                </a:buBlip>
                <a:defRPr/>
              </a:pPr>
              <a:r>
                <a:rPr lang="fr-fr" b="0" i="0" u="none" baseline="0" dirty="0">
                  <a:cs typeface="Segoe UI"/>
                </a:rPr>
                <a:t>Espace de travail plus convivial grâce </a:t>
              </a:r>
              <a:br>
                <a:rPr lang="fr-fr" b="0" i="0" u="none" baseline="0" dirty="0">
                  <a:cs typeface="Segoe UI"/>
                </a:rPr>
              </a:br>
              <a:r>
                <a:rPr lang="fr-fr" b="0" i="0" u="none" baseline="0" dirty="0">
                  <a:cs typeface="Segoe UI"/>
                </a:rPr>
                <a:t>aux gifs, autocollants et emojis </a:t>
              </a:r>
            </a:p>
          </p:txBody>
        </p:sp>
      </p:grpSp>
    </p:spTree>
    <p:extLst>
      <p:ext uri="{BB962C8B-B14F-4D97-AF65-F5344CB8AC3E}">
        <p14:creationId xmlns:p14="http://schemas.microsoft.com/office/powerpoint/2010/main" val="3918680941"/>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834E01C-172C-4F5A-A0ED-94C20AEFC36E}"/>
              </a:ext>
            </a:extLst>
          </p:cNvPr>
          <p:cNvGrpSpPr/>
          <p:nvPr/>
        </p:nvGrpSpPr>
        <p:grpSpPr>
          <a:xfrm>
            <a:off x="0" y="1719134"/>
            <a:ext cx="5575201" cy="4766504"/>
            <a:chOff x="0" y="1719134"/>
            <a:chExt cx="5575201" cy="4766504"/>
          </a:xfrm>
        </p:grpSpPr>
        <p:sp>
          <p:nvSpPr>
            <p:cNvPr id="12" name="Freeform: Shape 11">
              <a:extLst>
                <a:ext uri="{FF2B5EF4-FFF2-40B4-BE49-F238E27FC236}">
                  <a16:creationId xmlns:a16="http://schemas.microsoft.com/office/drawing/2014/main" id="{14647407-896F-488D-9A27-8A809659ECC0}"/>
                </a:ext>
              </a:extLst>
            </p:cNvPr>
            <p:cNvSpPr/>
            <p:nvPr/>
          </p:nvSpPr>
          <p:spPr bwMode="auto">
            <a:xfrm>
              <a:off x="588263" y="1720867"/>
              <a:ext cx="4986938" cy="929616"/>
            </a:xfrm>
            <a:custGeom>
              <a:avLst/>
              <a:gdLst>
                <a:gd name="connsiteX0" fmla="*/ 126363 w 4986938"/>
                <a:gd name="connsiteY0" fmla="*/ 0 h 929616"/>
                <a:gd name="connsiteX1" fmla="*/ 4986938 w 4986938"/>
                <a:gd name="connsiteY1" fmla="*/ 0 h 929616"/>
                <a:gd name="connsiteX2" fmla="*/ 4986938 w 4986938"/>
                <a:gd name="connsiteY2" fmla="*/ 929616 h 929616"/>
                <a:gd name="connsiteX3" fmla="*/ 0 w 4986938"/>
                <a:gd name="connsiteY3" fmla="*/ 929616 h 929616"/>
                <a:gd name="connsiteX4" fmla="*/ 0 w 4986938"/>
                <a:gd name="connsiteY4" fmla="*/ 126363 h 929616"/>
                <a:gd name="connsiteX5" fmla="*/ 126363 w 4986938"/>
                <a:gd name="connsiteY5" fmla="*/ 0 h 92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6938" h="929616">
                  <a:moveTo>
                    <a:pt x="126363" y="0"/>
                  </a:moveTo>
                  <a:lnTo>
                    <a:pt x="4986938" y="0"/>
                  </a:lnTo>
                  <a:lnTo>
                    <a:pt x="4986938" y="929616"/>
                  </a:lnTo>
                  <a:lnTo>
                    <a:pt x="0" y="929616"/>
                  </a:lnTo>
                  <a:lnTo>
                    <a:pt x="0" y="126363"/>
                  </a:lnTo>
                  <a:cubicBezTo>
                    <a:pt x="0" y="56575"/>
                    <a:pt x="56575" y="0"/>
                    <a:pt x="126363" y="0"/>
                  </a:cubicBezTo>
                  <a:close/>
                </a:path>
              </a:pathLst>
            </a:cu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lgn="l" defTabSz="932472" rtl="0" fontAlgn="base">
                <a:spcBef>
                  <a:spcPct val="0"/>
                </a:spcBef>
                <a:spcAft>
                  <a:spcPct val="0"/>
                </a:spcAft>
              </a:pPr>
              <a:r>
                <a:rPr lang="fr-fr" sz="2200" b="0" i="0" u="none" baseline="0" dirty="0">
                  <a:solidFill>
                    <a:schemeClr val="bg1"/>
                  </a:solidFill>
                  <a:latin typeface="+mj-lt"/>
                  <a:ea typeface="Segoe UI" pitchFamily="34" charset="0"/>
                  <a:cs typeface="Segoe UI"/>
                </a:rPr>
                <a:t>Une communication efficace </a:t>
              </a:r>
              <a:br>
                <a:rPr lang="fr-fr" sz="2200" b="0" i="0" u="none" baseline="0" dirty="0">
                  <a:latin typeface="+mj-lt"/>
                  <a:ea typeface="Segoe UI" pitchFamily="34" charset="0"/>
                  <a:cs typeface="Segoe UI" pitchFamily="34" charset="0"/>
                </a:rPr>
              </a:br>
              <a:r>
                <a:rPr lang="fr-fr" sz="2200" b="0" i="0" u="none" baseline="0" dirty="0">
                  <a:solidFill>
                    <a:schemeClr val="bg1"/>
                  </a:solidFill>
                  <a:latin typeface="+mj-lt"/>
                  <a:ea typeface="Segoe UI" pitchFamily="34" charset="0"/>
                  <a:cs typeface="Segoe UI"/>
                </a:rPr>
                <a:t>en temps réel</a:t>
              </a:r>
            </a:p>
          </p:txBody>
        </p:sp>
        <p:sp>
          <p:nvSpPr>
            <p:cNvPr id="13" name="Arrow: Bent 12">
              <a:extLst>
                <a:ext uri="{FF2B5EF4-FFF2-40B4-BE49-F238E27FC236}">
                  <a16:creationId xmlns:a16="http://schemas.microsoft.com/office/drawing/2014/main" id="{1408CB7B-DAD9-4E2D-82C6-CB93B25BCD0E}"/>
                </a:ext>
              </a:extLst>
            </p:cNvPr>
            <p:cNvSpPr/>
            <p:nvPr/>
          </p:nvSpPr>
          <p:spPr bwMode="auto">
            <a:xfrm>
              <a:off x="588263" y="1719134"/>
              <a:ext cx="4948937" cy="2173288"/>
            </a:xfrm>
            <a:prstGeom prst="bentArrow">
              <a:avLst>
                <a:gd name="adj1" fmla="val 25000"/>
                <a:gd name="adj2" fmla="val 0"/>
                <a:gd name="adj3" fmla="val 25000"/>
                <a:gd name="adj4" fmla="val 556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4" name="Arrow: Bent 13">
              <a:extLst>
                <a:ext uri="{FF2B5EF4-FFF2-40B4-BE49-F238E27FC236}">
                  <a16:creationId xmlns:a16="http://schemas.microsoft.com/office/drawing/2014/main" id="{CA27FB83-2208-42CD-B502-95D6017D5B57}"/>
                </a:ext>
              </a:extLst>
            </p:cNvPr>
            <p:cNvSpPr/>
            <p:nvPr/>
          </p:nvSpPr>
          <p:spPr bwMode="auto">
            <a:xfrm flipH="1" flipV="1">
              <a:off x="0" y="3541711"/>
              <a:ext cx="588262" cy="2727319"/>
            </a:xfrm>
            <a:prstGeom prst="bentArrow">
              <a:avLst>
                <a:gd name="adj1" fmla="val 25000"/>
                <a:gd name="adj2" fmla="val 0"/>
                <a:gd name="adj3" fmla="val 25000"/>
                <a:gd name="adj4" fmla="val 20514"/>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970BD1C3-951E-423A-AC46-56FD77E41832}"/>
                </a:ext>
              </a:extLst>
            </p:cNvPr>
            <p:cNvSpPr/>
            <p:nvPr/>
          </p:nvSpPr>
          <p:spPr>
            <a:xfrm>
              <a:off x="420924" y="2730764"/>
              <a:ext cx="5019177" cy="3754874"/>
            </a:xfrm>
            <a:prstGeom prst="rect">
              <a:avLst/>
            </a:prstGeom>
          </p:spPr>
          <p:txBody>
            <a:bodyPr wrap="square" anchor="t">
              <a:spAutoFit/>
            </a:bodyPr>
            <a:lstStyle/>
            <a:p>
              <a:pPr marL="285750" indent="-285750" algn="l" rtl="0" fontAlgn="base">
                <a:spcBef>
                  <a:spcPts val="1200"/>
                </a:spcBef>
                <a:buClr>
                  <a:srgbClr val="4B53BC"/>
                </a:buClr>
                <a:buSzPct val="100000"/>
                <a:buBlip>
                  <a:blip r:embed="rId3"/>
                </a:buBlip>
                <a:defRPr/>
              </a:pPr>
              <a:r>
                <a:rPr lang="fr-fr" b="0" i="0" u="none" baseline="0" dirty="0">
                  <a:cs typeface="Segoe UI"/>
                </a:rPr>
                <a:t>Communiquez facilement dans les réunions en ligne avec le </a:t>
              </a:r>
              <a:r>
                <a:rPr lang="fr-fr" b="0" i="0" u="none" baseline="0" dirty="0" err="1">
                  <a:cs typeface="Segoe UI"/>
                </a:rPr>
                <a:t>VoIP</a:t>
              </a:r>
              <a:r>
                <a:rPr lang="fr-fr" b="0" i="0" u="none" baseline="0" dirty="0">
                  <a:cs typeface="Segoe UI"/>
                </a:rPr>
                <a:t> et les téléconférences audio</a:t>
              </a:r>
            </a:p>
            <a:p>
              <a:pPr marL="285750" indent="-285750" algn="l" rtl="0" fontAlgn="base">
                <a:spcBef>
                  <a:spcPts val="1200"/>
                </a:spcBef>
                <a:buClr>
                  <a:srgbClr val="4B53BC"/>
                </a:buClr>
                <a:buSzPct val="100000"/>
                <a:buBlip>
                  <a:blip r:embed="rId3"/>
                </a:buBlip>
                <a:defRPr/>
              </a:pPr>
              <a:r>
                <a:rPr lang="fr-fr" b="0" i="0" u="none" baseline="0" dirty="0">
                  <a:cs typeface="Segoe UI"/>
                </a:rPr>
                <a:t>Favorisez l</a:t>
              </a:r>
              <a:r>
                <a:rPr lang="fr-FR" b="0" i="0" u="none" baseline="0" dirty="0">
                  <a:cs typeface="Segoe UI"/>
                </a:rPr>
                <a:t>’</a:t>
              </a:r>
              <a:r>
                <a:rPr lang="fr-fr" b="0" i="0" u="none" baseline="0" dirty="0">
                  <a:cs typeface="Segoe UI"/>
                </a:rPr>
                <a:t>implication de votre équipe </a:t>
              </a:r>
              <a:br>
                <a:rPr lang="fr-fr" b="0" i="0" u="none" baseline="0" dirty="0">
                  <a:cs typeface="Segoe UI"/>
                </a:rPr>
              </a:br>
              <a:r>
                <a:rPr lang="fr-fr" b="0" i="0" u="none" baseline="0" dirty="0">
                  <a:cs typeface="Segoe UI"/>
                </a:rPr>
                <a:t>avec la vidéo HD</a:t>
              </a:r>
            </a:p>
            <a:p>
              <a:pPr marL="285750" indent="-285750" algn="l" rtl="0" fontAlgn="base">
                <a:spcBef>
                  <a:spcPts val="1200"/>
                </a:spcBef>
                <a:buClr>
                  <a:srgbClr val="4B53BC"/>
                </a:buClr>
                <a:buSzPct val="100000"/>
                <a:buBlip>
                  <a:blip r:embed="rId3"/>
                </a:buBlip>
                <a:defRPr/>
              </a:pPr>
              <a:r>
                <a:rPr lang="fr-fr" b="0" i="0" u="none" baseline="0" dirty="0">
                  <a:cs typeface="Segoe UI"/>
                </a:rPr>
                <a:t>Collaborez en temps réel avec le partage d</a:t>
              </a:r>
              <a:r>
                <a:rPr lang="fr-FR" b="0" i="0" u="none" baseline="0" dirty="0">
                  <a:cs typeface="Segoe UI"/>
                </a:rPr>
                <a:t>’</a:t>
              </a:r>
              <a:r>
                <a:rPr lang="fr-fr" b="0" i="0" u="none" baseline="0" dirty="0">
                  <a:cs typeface="Segoe UI"/>
                </a:rPr>
                <a:t>écran et les applications intégrées</a:t>
              </a:r>
            </a:p>
            <a:p>
              <a:pPr marL="285750" indent="-285750" algn="l" rtl="0" fontAlgn="base">
                <a:spcBef>
                  <a:spcPts val="1200"/>
                </a:spcBef>
                <a:buClr>
                  <a:srgbClr val="4B53BC"/>
                </a:buClr>
                <a:buSzPct val="100000"/>
                <a:buBlip>
                  <a:blip r:embed="rId3"/>
                </a:buBlip>
                <a:defRPr/>
              </a:pPr>
              <a:r>
                <a:rPr lang="fr-fr" b="0" i="0" u="none" baseline="0" dirty="0">
                  <a:cs typeface="Segoe UI"/>
                </a:rPr>
                <a:t>Connectez-vous par téléphone mobile, sur un ordinateur ou dans un navigateur Web</a:t>
              </a:r>
            </a:p>
            <a:p>
              <a:pPr marL="285750" indent="-285750" algn="l" rtl="0" fontAlgn="base">
                <a:spcBef>
                  <a:spcPts val="1200"/>
                </a:spcBef>
                <a:buClr>
                  <a:srgbClr val="4B53BC"/>
                </a:buClr>
                <a:buSzPct val="100000"/>
                <a:buBlip>
                  <a:blip r:embed="rId3"/>
                </a:buBlip>
                <a:defRPr/>
              </a:pPr>
              <a:r>
                <a:rPr lang="fr-fr" b="0" i="0" u="none" baseline="0" dirty="0">
                  <a:cs typeface="Segoe UI"/>
                </a:rPr>
                <a:t>Démarrez des réunions instantanément </a:t>
              </a:r>
              <a:br>
                <a:rPr lang="fr-fr" b="0" i="0" u="none" baseline="0" dirty="0">
                  <a:cs typeface="Segoe UI"/>
                </a:rPr>
              </a:br>
              <a:r>
                <a:rPr lang="fr-fr" b="0" i="0" u="none" baseline="0" dirty="0">
                  <a:cs typeface="Segoe UI"/>
                </a:rPr>
                <a:t>d</a:t>
              </a:r>
              <a:r>
                <a:rPr lang="fr-FR" b="0" i="0" u="none" baseline="0" dirty="0">
                  <a:cs typeface="Segoe UI"/>
                </a:rPr>
                <a:t>’</a:t>
              </a:r>
              <a:r>
                <a:rPr lang="fr-fr" b="0" i="0" u="none" baseline="0" dirty="0">
                  <a:cs typeface="Segoe UI"/>
                </a:rPr>
                <a:t>un simple clic</a:t>
              </a:r>
            </a:p>
          </p:txBody>
        </p:sp>
      </p:grpSp>
      <p:sp>
        <p:nvSpPr>
          <p:cNvPr id="3" name="Title 2">
            <a:extLst>
              <a:ext uri="{FF2B5EF4-FFF2-40B4-BE49-F238E27FC236}">
                <a16:creationId xmlns:a16="http://schemas.microsoft.com/office/drawing/2014/main" id="{ECC04A6A-384F-418F-BA54-C9A3143BE2A0}"/>
              </a:ext>
            </a:extLst>
          </p:cNvPr>
          <p:cNvSpPr>
            <a:spLocks noGrp="1"/>
          </p:cNvSpPr>
          <p:nvPr>
            <p:ph type="title"/>
          </p:nvPr>
        </p:nvSpPr>
        <p:spPr/>
        <p:txBody>
          <a:bodyPr/>
          <a:lstStyle/>
          <a:p>
            <a:pPr algn="l" rtl="0"/>
            <a:r>
              <a:rPr lang="fr-fr" b="0" i="0" u="none" baseline="0" dirty="0">
                <a:cs typeface="Segoe UI"/>
              </a:rPr>
              <a:t>Organisez des réunions attrayantes et productives</a:t>
            </a:r>
          </a:p>
        </p:txBody>
      </p:sp>
      <p:grpSp>
        <p:nvGrpSpPr>
          <p:cNvPr id="2" name="Group 1">
            <a:extLst>
              <a:ext uri="{FF2B5EF4-FFF2-40B4-BE49-F238E27FC236}">
                <a16:creationId xmlns:a16="http://schemas.microsoft.com/office/drawing/2014/main" id="{A0D7200D-AB4F-4205-AEBA-0FB26FA2840C}"/>
              </a:ext>
            </a:extLst>
          </p:cNvPr>
          <p:cNvGrpSpPr/>
          <p:nvPr/>
        </p:nvGrpSpPr>
        <p:grpSpPr>
          <a:xfrm>
            <a:off x="5699126" y="1299369"/>
            <a:ext cx="6492875" cy="4838697"/>
            <a:chOff x="5699126" y="1409699"/>
            <a:chExt cx="6492875" cy="4838697"/>
          </a:xfrm>
        </p:grpSpPr>
        <p:sp>
          <p:nvSpPr>
            <p:cNvPr id="27" name="Rectangle: Top Corners Rounded 26">
              <a:extLst>
                <a:ext uri="{FF2B5EF4-FFF2-40B4-BE49-F238E27FC236}">
                  <a16:creationId xmlns:a16="http://schemas.microsoft.com/office/drawing/2014/main" id="{AA065BDB-9644-4FA4-8B8F-3A5A3BDEC68D}"/>
                </a:ext>
              </a:extLst>
            </p:cNvPr>
            <p:cNvSpPr/>
            <p:nvPr/>
          </p:nvSpPr>
          <p:spPr bwMode="auto">
            <a:xfrm rot="16200000">
              <a:off x="6526215" y="582610"/>
              <a:ext cx="4838697" cy="6492875"/>
            </a:xfrm>
            <a:prstGeom prst="round2SameRect">
              <a:avLst>
                <a:gd name="adj1" fmla="val 1874"/>
                <a:gd name="adj2" fmla="val 0"/>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rtl="0" fontAlgn="base">
                <a:spcBef>
                  <a:spcPct val="0"/>
                </a:spcBef>
                <a:spcAft>
                  <a:spcPct val="0"/>
                </a:spcAft>
              </a:pPr>
              <a:endParaRPr lang="fr-fr" sz="2400" dirty="0">
                <a:gradFill>
                  <a:gsLst>
                    <a:gs pos="0">
                      <a:srgbClr val="FFFFFF"/>
                    </a:gs>
                    <a:gs pos="100000">
                      <a:srgbClr val="FFFFFF"/>
                    </a:gs>
                  </a:gsLst>
                  <a:lin ang="5400000" scaled="0"/>
                </a:gradFill>
                <a:cs typeface="Segoe UI" pitchFamily="34" charset="0"/>
              </a:endParaRPr>
            </a:p>
          </p:txBody>
        </p:sp>
        <p:pic>
          <p:nvPicPr>
            <p:cNvPr id="30" name="Picture 29">
              <a:extLst>
                <a:ext uri="{FF2B5EF4-FFF2-40B4-BE49-F238E27FC236}">
                  <a16:creationId xmlns:a16="http://schemas.microsoft.com/office/drawing/2014/main" id="{B0410ECD-2AB0-4436-9064-3D02292BC49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2954" t="1912" r="716" b="2100"/>
            <a:stretch/>
          </p:blipFill>
          <p:spPr>
            <a:xfrm>
              <a:off x="5840804" y="1556443"/>
              <a:ext cx="6351197" cy="4545208"/>
            </a:xfrm>
            <a:custGeom>
              <a:avLst/>
              <a:gdLst>
                <a:gd name="connsiteX0" fmla="*/ 95268 w 6351197"/>
                <a:gd name="connsiteY0" fmla="*/ 0 h 4545208"/>
                <a:gd name="connsiteX1" fmla="*/ 6255929 w 6351197"/>
                <a:gd name="connsiteY1" fmla="*/ 0 h 4545208"/>
                <a:gd name="connsiteX2" fmla="*/ 6351197 w 6351197"/>
                <a:gd name="connsiteY2" fmla="*/ 95268 h 4545208"/>
                <a:gd name="connsiteX3" fmla="*/ 6351197 w 6351197"/>
                <a:gd name="connsiteY3" fmla="*/ 4449940 h 4545208"/>
                <a:gd name="connsiteX4" fmla="*/ 6255929 w 6351197"/>
                <a:gd name="connsiteY4" fmla="*/ 4545208 h 4545208"/>
                <a:gd name="connsiteX5" fmla="*/ 95268 w 6351197"/>
                <a:gd name="connsiteY5" fmla="*/ 4545208 h 4545208"/>
                <a:gd name="connsiteX6" fmla="*/ 0 w 6351197"/>
                <a:gd name="connsiteY6" fmla="*/ 4449940 h 4545208"/>
                <a:gd name="connsiteX7" fmla="*/ 0 w 6351197"/>
                <a:gd name="connsiteY7" fmla="*/ 95268 h 4545208"/>
                <a:gd name="connsiteX8" fmla="*/ 95268 w 6351197"/>
                <a:gd name="connsiteY8" fmla="*/ 0 h 4545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1197" h="4545208">
                  <a:moveTo>
                    <a:pt x="95268" y="0"/>
                  </a:moveTo>
                  <a:lnTo>
                    <a:pt x="6255929" y="0"/>
                  </a:lnTo>
                  <a:cubicBezTo>
                    <a:pt x="6308544" y="0"/>
                    <a:pt x="6351197" y="42653"/>
                    <a:pt x="6351197" y="95268"/>
                  </a:cubicBezTo>
                  <a:lnTo>
                    <a:pt x="6351197" y="4449940"/>
                  </a:lnTo>
                  <a:cubicBezTo>
                    <a:pt x="6351197" y="4502555"/>
                    <a:pt x="6308544" y="4545208"/>
                    <a:pt x="6255929" y="4545208"/>
                  </a:cubicBezTo>
                  <a:lnTo>
                    <a:pt x="95268" y="4545208"/>
                  </a:lnTo>
                  <a:cubicBezTo>
                    <a:pt x="42653" y="4545208"/>
                    <a:pt x="0" y="4502555"/>
                    <a:pt x="0" y="4449940"/>
                  </a:cubicBezTo>
                  <a:lnTo>
                    <a:pt x="0" y="95268"/>
                  </a:lnTo>
                  <a:cubicBezTo>
                    <a:pt x="0" y="42653"/>
                    <a:pt x="42653" y="0"/>
                    <a:pt x="95268" y="0"/>
                  </a:cubicBezTo>
                  <a:close/>
                </a:path>
              </a:pathLst>
            </a:custGeom>
          </p:spPr>
        </p:pic>
      </p:grpSp>
      <p:pic>
        <p:nvPicPr>
          <p:cNvPr id="31" name="Picture 30">
            <a:extLst>
              <a:ext uri="{FF2B5EF4-FFF2-40B4-BE49-F238E27FC236}">
                <a16:creationId xmlns:a16="http://schemas.microsoft.com/office/drawing/2014/main" id="{546393F9-092F-411C-B8ED-D6FA1D9323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898316" y="4229743"/>
            <a:ext cx="1091479" cy="1871908"/>
          </a:xfrm>
          <a:prstGeom prst="rect">
            <a:avLst/>
          </a:prstGeom>
        </p:spPr>
      </p:pic>
      <p:sp>
        <p:nvSpPr>
          <p:cNvPr id="17" name="Rectangle: Top Corners Rounded 16">
            <a:extLst>
              <a:ext uri="{FF2B5EF4-FFF2-40B4-BE49-F238E27FC236}">
                <a16:creationId xmlns:a16="http://schemas.microsoft.com/office/drawing/2014/main" id="{1F5AA7CE-9F36-4A88-A9F5-0124B1FD1161}"/>
              </a:ext>
            </a:extLst>
          </p:cNvPr>
          <p:cNvSpPr/>
          <p:nvPr/>
        </p:nvSpPr>
        <p:spPr bwMode="auto">
          <a:xfrm rot="16200000">
            <a:off x="6331248" y="408286"/>
            <a:ext cx="5100641" cy="6620862"/>
          </a:xfrm>
          <a:prstGeom prst="round2SameRect">
            <a:avLst>
              <a:gd name="adj1" fmla="val 2540"/>
              <a:gd name="adj2" fmla="val 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3099A774-2001-460E-8383-24FD575E4A27}"/>
              </a:ext>
            </a:extLst>
          </p:cNvPr>
          <p:cNvGrpSpPr/>
          <p:nvPr/>
        </p:nvGrpSpPr>
        <p:grpSpPr>
          <a:xfrm>
            <a:off x="11082530" y="394996"/>
            <a:ext cx="1109472" cy="553999"/>
            <a:chOff x="11082530" y="394996"/>
            <a:chExt cx="1109472" cy="553999"/>
          </a:xfrm>
        </p:grpSpPr>
        <p:sp>
          <p:nvSpPr>
            <p:cNvPr id="18" name="Rectangle: Top Corners Rounded 17">
              <a:extLst>
                <a:ext uri="{FF2B5EF4-FFF2-40B4-BE49-F238E27FC236}">
                  <a16:creationId xmlns:a16="http://schemas.microsoft.com/office/drawing/2014/main" id="{632FB9BB-A07D-4DF0-95C0-39691436EA39}"/>
                </a:ext>
              </a:extLst>
            </p:cNvPr>
            <p:cNvSpPr/>
            <p:nvPr/>
          </p:nvSpPr>
          <p:spPr bwMode="auto">
            <a:xfrm rot="16200000">
              <a:off x="11360266" y="117260"/>
              <a:ext cx="553999" cy="1109472"/>
            </a:xfrm>
            <a:prstGeom prst="round2SameRect">
              <a:avLst>
                <a:gd name="adj1" fmla="val 50000"/>
                <a:gd name="adj2" fmla="val 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9" name="Oval 18">
              <a:extLst>
                <a:ext uri="{FF2B5EF4-FFF2-40B4-BE49-F238E27FC236}">
                  <a16:creationId xmlns:a16="http://schemas.microsoft.com/office/drawing/2014/main" id="{0CB5EB41-8F6F-4216-9602-C890222B2CAC}"/>
                </a:ext>
              </a:extLst>
            </p:cNvPr>
            <p:cNvSpPr/>
            <p:nvPr/>
          </p:nvSpPr>
          <p:spPr bwMode="auto">
            <a:xfrm>
              <a:off x="11107990" y="418917"/>
              <a:ext cx="506160" cy="50615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rtl="0" fontAlgn="base">
                <a:lnSpc>
                  <a:spcPct val="90000"/>
                </a:lnSpc>
                <a:spcBef>
                  <a:spcPct val="0"/>
                </a:spcBef>
                <a:spcAft>
                  <a:spcPct val="0"/>
                </a:spcAft>
              </a:pPr>
              <a:endParaRPr lang="fr-fr" sz="24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MeetingPlanner_EBF2" title="Icon of a person in front of a calendar">
              <a:extLst>
                <a:ext uri="{FF2B5EF4-FFF2-40B4-BE49-F238E27FC236}">
                  <a16:creationId xmlns:a16="http://schemas.microsoft.com/office/drawing/2014/main" id="{BC3D5174-590E-4E67-BEFE-B583E6E4C592}"/>
                </a:ext>
              </a:extLst>
            </p:cNvPr>
            <p:cNvSpPr>
              <a:spLocks noChangeAspect="1" noEditPoints="1"/>
            </p:cNvSpPr>
            <p:nvPr/>
          </p:nvSpPr>
          <p:spPr bwMode="auto">
            <a:xfrm>
              <a:off x="11216697" y="517899"/>
              <a:ext cx="288746" cy="308194"/>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fr-fr" dirty="0">
                <a:cs typeface="Segoe UI"/>
              </a:endParaRPr>
            </a:p>
          </p:txBody>
        </p:sp>
      </p:grpSp>
    </p:spTree>
    <p:extLst>
      <p:ext uri="{BB962C8B-B14F-4D97-AF65-F5344CB8AC3E}">
        <p14:creationId xmlns:p14="http://schemas.microsoft.com/office/powerpoint/2010/main" val="2617117329"/>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96044E6F-3F7D-4DAD-8BCD-BC2C2D5A9D02}"/>
              </a:ext>
            </a:extLst>
          </p:cNvPr>
          <p:cNvGrpSpPr/>
          <p:nvPr/>
        </p:nvGrpSpPr>
        <p:grpSpPr>
          <a:xfrm>
            <a:off x="0" y="1719134"/>
            <a:ext cx="5575201" cy="4549896"/>
            <a:chOff x="0" y="1719134"/>
            <a:chExt cx="5575201" cy="4549896"/>
          </a:xfrm>
        </p:grpSpPr>
        <p:sp>
          <p:nvSpPr>
            <p:cNvPr id="17" name="Freeform: Shape 16">
              <a:extLst>
                <a:ext uri="{FF2B5EF4-FFF2-40B4-BE49-F238E27FC236}">
                  <a16:creationId xmlns:a16="http://schemas.microsoft.com/office/drawing/2014/main" id="{21CCC91F-77E3-44F6-B769-EE5016122C92}"/>
                </a:ext>
              </a:extLst>
            </p:cNvPr>
            <p:cNvSpPr/>
            <p:nvPr/>
          </p:nvSpPr>
          <p:spPr bwMode="auto">
            <a:xfrm>
              <a:off x="588263" y="1720867"/>
              <a:ext cx="4986938" cy="929616"/>
            </a:xfrm>
            <a:custGeom>
              <a:avLst/>
              <a:gdLst>
                <a:gd name="connsiteX0" fmla="*/ 126363 w 4986938"/>
                <a:gd name="connsiteY0" fmla="*/ 0 h 929616"/>
                <a:gd name="connsiteX1" fmla="*/ 4986938 w 4986938"/>
                <a:gd name="connsiteY1" fmla="*/ 0 h 929616"/>
                <a:gd name="connsiteX2" fmla="*/ 4986938 w 4986938"/>
                <a:gd name="connsiteY2" fmla="*/ 929616 h 929616"/>
                <a:gd name="connsiteX3" fmla="*/ 0 w 4986938"/>
                <a:gd name="connsiteY3" fmla="*/ 929616 h 929616"/>
                <a:gd name="connsiteX4" fmla="*/ 0 w 4986938"/>
                <a:gd name="connsiteY4" fmla="*/ 126363 h 929616"/>
                <a:gd name="connsiteX5" fmla="*/ 126363 w 4986938"/>
                <a:gd name="connsiteY5" fmla="*/ 0 h 92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6938" h="929616">
                  <a:moveTo>
                    <a:pt x="126363" y="0"/>
                  </a:moveTo>
                  <a:lnTo>
                    <a:pt x="4986938" y="0"/>
                  </a:lnTo>
                  <a:lnTo>
                    <a:pt x="4986938" y="929616"/>
                  </a:lnTo>
                  <a:lnTo>
                    <a:pt x="0" y="929616"/>
                  </a:lnTo>
                  <a:lnTo>
                    <a:pt x="0" y="126363"/>
                  </a:lnTo>
                  <a:cubicBezTo>
                    <a:pt x="0" y="56575"/>
                    <a:pt x="56575" y="0"/>
                    <a:pt x="126363" y="0"/>
                  </a:cubicBezTo>
                  <a:close/>
                </a:path>
              </a:pathLst>
            </a:cu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lgn="l" defTabSz="932472" rtl="0" fontAlgn="base">
                <a:spcBef>
                  <a:spcPct val="0"/>
                </a:spcBef>
                <a:spcAft>
                  <a:spcPct val="0"/>
                </a:spcAft>
              </a:pPr>
              <a:r>
                <a:rPr lang="fr-fr" sz="2200" b="0" i="0" u="none" baseline="0" dirty="0">
                  <a:solidFill>
                    <a:schemeClr val="bg1"/>
                  </a:solidFill>
                  <a:latin typeface="+mj-lt"/>
                  <a:ea typeface="Segoe UI" pitchFamily="34" charset="0"/>
                  <a:cs typeface="Segoe UI"/>
                </a:rPr>
                <a:t>Accédez rapidement à vos applications préférées</a:t>
              </a:r>
            </a:p>
          </p:txBody>
        </p:sp>
        <p:sp>
          <p:nvSpPr>
            <p:cNvPr id="18" name="Arrow: Bent 17">
              <a:extLst>
                <a:ext uri="{FF2B5EF4-FFF2-40B4-BE49-F238E27FC236}">
                  <a16:creationId xmlns:a16="http://schemas.microsoft.com/office/drawing/2014/main" id="{6AA323AD-49B5-4350-B8F6-63293B4DAF1F}"/>
                </a:ext>
              </a:extLst>
            </p:cNvPr>
            <p:cNvSpPr/>
            <p:nvPr/>
          </p:nvSpPr>
          <p:spPr bwMode="auto">
            <a:xfrm>
              <a:off x="588263" y="1719134"/>
              <a:ext cx="4948937" cy="2173288"/>
            </a:xfrm>
            <a:prstGeom prst="bentArrow">
              <a:avLst>
                <a:gd name="adj1" fmla="val 25000"/>
                <a:gd name="adj2" fmla="val 0"/>
                <a:gd name="adj3" fmla="val 25000"/>
                <a:gd name="adj4" fmla="val 556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9" name="Arrow: Bent 18">
              <a:extLst>
                <a:ext uri="{FF2B5EF4-FFF2-40B4-BE49-F238E27FC236}">
                  <a16:creationId xmlns:a16="http://schemas.microsoft.com/office/drawing/2014/main" id="{121F1AB6-337D-4D90-8F0D-68460928E32F}"/>
                </a:ext>
              </a:extLst>
            </p:cNvPr>
            <p:cNvSpPr/>
            <p:nvPr/>
          </p:nvSpPr>
          <p:spPr bwMode="auto">
            <a:xfrm flipH="1" flipV="1">
              <a:off x="0" y="3541711"/>
              <a:ext cx="588262" cy="2727319"/>
            </a:xfrm>
            <a:prstGeom prst="bentArrow">
              <a:avLst>
                <a:gd name="adj1" fmla="val 25000"/>
                <a:gd name="adj2" fmla="val 0"/>
                <a:gd name="adj3" fmla="val 25000"/>
                <a:gd name="adj4" fmla="val 20514"/>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741457A3-C4F8-469D-94C5-D8D7E65FD796}"/>
                </a:ext>
              </a:extLst>
            </p:cNvPr>
            <p:cNvSpPr/>
            <p:nvPr/>
          </p:nvSpPr>
          <p:spPr>
            <a:xfrm>
              <a:off x="420924" y="2730764"/>
              <a:ext cx="4878151" cy="3477875"/>
            </a:xfrm>
            <a:prstGeom prst="rect">
              <a:avLst/>
            </a:prstGeom>
          </p:spPr>
          <p:txBody>
            <a:bodyPr wrap="square" anchor="t">
              <a:spAutoFit/>
            </a:bodyPr>
            <a:lstStyle/>
            <a:p>
              <a:pPr marL="285750" indent="-285750" algn="l" rtl="0" fontAlgn="base">
                <a:spcBef>
                  <a:spcPts val="1200"/>
                </a:spcBef>
                <a:buClr>
                  <a:srgbClr val="4B53BC"/>
                </a:buClr>
                <a:buSzPct val="100000"/>
                <a:buBlip>
                  <a:blip r:embed="rId3"/>
                </a:buBlip>
                <a:defRPr/>
              </a:pPr>
              <a:r>
                <a:rPr lang="fr-fr" b="0" i="0" u="none" baseline="0" dirty="0">
                  <a:cs typeface="Segoe UI"/>
                </a:rPr>
                <a:t>Accédez aux conversations, fichiers et outils dans un espace de travail collaboratif</a:t>
              </a:r>
            </a:p>
            <a:p>
              <a:pPr marL="285750" indent="-285750" algn="l" rtl="0" fontAlgn="base">
                <a:spcBef>
                  <a:spcPts val="1200"/>
                </a:spcBef>
                <a:buClr>
                  <a:srgbClr val="4B53BC"/>
                </a:buClr>
                <a:buSzPct val="100000"/>
                <a:buBlip>
                  <a:blip r:embed="rId3"/>
                </a:buBlip>
                <a:defRPr/>
              </a:pPr>
              <a:r>
                <a:rPr lang="fr-fr" b="0" i="0" u="none" baseline="0" dirty="0">
                  <a:cs typeface="Segoe UI"/>
                </a:rPr>
                <a:t>Partagez et créez à plusieurs des fichiers dans l</a:t>
              </a:r>
              <a:r>
                <a:rPr lang="fr-FR" b="0" i="0" u="none" baseline="0" dirty="0">
                  <a:cs typeface="Segoe UI"/>
                </a:rPr>
                <a:t>’</a:t>
              </a:r>
              <a:r>
                <a:rPr lang="fr-fr" b="0" i="0" u="none" baseline="0" dirty="0">
                  <a:cs typeface="Segoe UI"/>
                </a:rPr>
                <a:t>application</a:t>
              </a:r>
            </a:p>
            <a:p>
              <a:pPr marL="285750" indent="-285750" algn="l" rtl="0" fontAlgn="base">
                <a:spcBef>
                  <a:spcPts val="1200"/>
                </a:spcBef>
                <a:buClr>
                  <a:srgbClr val="4B53BC"/>
                </a:buClr>
                <a:buSzPct val="100000"/>
                <a:buBlip>
                  <a:blip r:embed="rId3"/>
                </a:buBlip>
                <a:defRPr/>
              </a:pPr>
              <a:r>
                <a:rPr lang="fr-fr" b="0" i="0" u="none" baseline="0" dirty="0">
                  <a:cs typeface="Segoe UI"/>
                </a:rPr>
                <a:t>Utilisez l</a:t>
              </a:r>
              <a:r>
                <a:rPr lang="fr-FR" b="0" i="0" u="none" baseline="0" dirty="0">
                  <a:cs typeface="Segoe UI"/>
                </a:rPr>
                <a:t>’</a:t>
              </a:r>
              <a:r>
                <a:rPr lang="fr-fr" b="0" i="0" u="none" baseline="0" dirty="0">
                  <a:cs typeface="Segoe UI"/>
                </a:rPr>
                <a:t>intégration à SharePoint, OneNote, Power BI et Planner</a:t>
              </a:r>
            </a:p>
            <a:p>
              <a:pPr marL="285750" indent="-285750" fontAlgn="base">
                <a:spcBef>
                  <a:spcPts val="1200"/>
                </a:spcBef>
                <a:buClr>
                  <a:srgbClr val="4B53BC"/>
                </a:buClr>
                <a:buSzPct val="100000"/>
                <a:buBlip>
                  <a:blip r:embed="rId3"/>
                </a:buBlip>
                <a:defRPr/>
              </a:pPr>
              <a:r>
                <a:rPr lang="fr-fr" b="0" i="0" u="none" baseline="0" dirty="0">
                  <a:cs typeface="Segoe UI"/>
                </a:rPr>
                <a:t>Recherchez des personnes, des fichiers </a:t>
              </a:r>
              <a:br>
                <a:rPr lang="fr-fr" b="0" i="0" u="none" baseline="0" dirty="0">
                  <a:cs typeface="Segoe UI"/>
                </a:rPr>
              </a:br>
              <a:r>
                <a:rPr lang="fr-fr" b="0" i="0" u="none" baseline="0" dirty="0">
                  <a:cs typeface="Segoe UI"/>
                </a:rPr>
                <a:t>et des conversations</a:t>
              </a:r>
              <a:r>
                <a:rPr lang="fr-fr" dirty="0">
                  <a:cs typeface="Segoe UI"/>
                </a:rPr>
                <a:t> </a:t>
              </a:r>
              <a:endParaRPr lang="fr-fr" b="0" i="0" u="none" baseline="0" dirty="0">
                <a:cs typeface="Segoe UI"/>
              </a:endParaRPr>
            </a:p>
            <a:p>
              <a:pPr marL="285750" indent="-285750" algn="l" rtl="0" fontAlgn="base">
                <a:spcBef>
                  <a:spcPts val="1200"/>
                </a:spcBef>
                <a:buClr>
                  <a:srgbClr val="4B53BC"/>
                </a:buClr>
                <a:buSzPct val="100000"/>
                <a:buBlip>
                  <a:blip r:embed="rId3"/>
                </a:buBlip>
                <a:defRPr/>
              </a:pPr>
              <a:r>
                <a:rPr lang="fr-fr" b="0" i="0" u="none" baseline="0" dirty="0">
                  <a:cs typeface="Segoe UI"/>
                </a:rPr>
                <a:t>Gardez toute l</a:t>
              </a:r>
              <a:r>
                <a:rPr lang="fr-FR" b="0" i="0" u="none" baseline="0" dirty="0">
                  <a:cs typeface="Segoe UI"/>
                </a:rPr>
                <a:t>’</a:t>
              </a:r>
              <a:r>
                <a:rPr lang="fr-fr" b="0" i="0" u="none" baseline="0" dirty="0">
                  <a:cs typeface="Segoe UI"/>
                </a:rPr>
                <a:t>équipe informée avec l</a:t>
              </a:r>
              <a:r>
                <a:rPr lang="fr-FR" b="0" i="0" u="none" baseline="0" dirty="0">
                  <a:cs typeface="Segoe UI"/>
                </a:rPr>
                <a:t>’</a:t>
              </a:r>
              <a:r>
                <a:rPr lang="fr-fr" b="0" i="0" u="none" baseline="0" dirty="0">
                  <a:cs typeface="Segoe UI"/>
                </a:rPr>
                <a:t>intégration des e-mails</a:t>
              </a:r>
            </a:p>
          </p:txBody>
        </p:sp>
      </p:grpSp>
      <p:sp>
        <p:nvSpPr>
          <p:cNvPr id="4" name="Title 3">
            <a:extLst>
              <a:ext uri="{FF2B5EF4-FFF2-40B4-BE49-F238E27FC236}">
                <a16:creationId xmlns:a16="http://schemas.microsoft.com/office/drawing/2014/main" id="{D82F8B4F-62EF-4661-A165-E0A58E8B295E}"/>
              </a:ext>
            </a:extLst>
          </p:cNvPr>
          <p:cNvSpPr>
            <a:spLocks noGrp="1"/>
          </p:cNvSpPr>
          <p:nvPr>
            <p:ph type="title"/>
          </p:nvPr>
        </p:nvSpPr>
        <p:spPr/>
        <p:txBody>
          <a:bodyPr/>
          <a:lstStyle/>
          <a:p>
            <a:pPr algn="l" rtl="0"/>
            <a:r>
              <a:rPr lang="fr-fr" sz="3500" b="0" i="0" u="none" baseline="0" dirty="0">
                <a:cs typeface="Segoe UI"/>
              </a:rPr>
              <a:t>Collaborez avec des applications Office 365 intégrées</a:t>
            </a:r>
          </a:p>
        </p:txBody>
      </p:sp>
      <p:grpSp>
        <p:nvGrpSpPr>
          <p:cNvPr id="2" name="Group 1">
            <a:extLst>
              <a:ext uri="{FF2B5EF4-FFF2-40B4-BE49-F238E27FC236}">
                <a16:creationId xmlns:a16="http://schemas.microsoft.com/office/drawing/2014/main" id="{3567B130-B1B6-41E1-A2B7-9D981A03B3A8}"/>
              </a:ext>
            </a:extLst>
          </p:cNvPr>
          <p:cNvGrpSpPr/>
          <p:nvPr/>
        </p:nvGrpSpPr>
        <p:grpSpPr>
          <a:xfrm>
            <a:off x="5699126" y="1299369"/>
            <a:ext cx="6492876" cy="4838697"/>
            <a:chOff x="5699126" y="1409699"/>
            <a:chExt cx="6492876" cy="4838697"/>
          </a:xfrm>
        </p:grpSpPr>
        <p:sp>
          <p:nvSpPr>
            <p:cNvPr id="28" name="Rectangle: Top Corners Rounded 27">
              <a:extLst>
                <a:ext uri="{FF2B5EF4-FFF2-40B4-BE49-F238E27FC236}">
                  <a16:creationId xmlns:a16="http://schemas.microsoft.com/office/drawing/2014/main" id="{D1464B9D-187E-4AFA-AC1F-5CEC98E95BC6}"/>
                </a:ext>
              </a:extLst>
            </p:cNvPr>
            <p:cNvSpPr/>
            <p:nvPr/>
          </p:nvSpPr>
          <p:spPr bwMode="auto">
            <a:xfrm rot="16200000">
              <a:off x="6526215" y="582610"/>
              <a:ext cx="4838697" cy="6492875"/>
            </a:xfrm>
            <a:prstGeom prst="round2SameRect">
              <a:avLst>
                <a:gd name="adj1" fmla="val 1874"/>
                <a:gd name="adj2" fmla="val 0"/>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rtl="0" fontAlgn="base">
                <a:spcBef>
                  <a:spcPct val="0"/>
                </a:spcBef>
                <a:spcAft>
                  <a:spcPct val="0"/>
                </a:spcAft>
              </a:pPr>
              <a:endParaRPr lang="fr-fr" sz="2400" dirty="0">
                <a:gradFill>
                  <a:gsLst>
                    <a:gs pos="0">
                      <a:srgbClr val="FFFFFF"/>
                    </a:gs>
                    <a:gs pos="100000">
                      <a:srgbClr val="FFFFFF"/>
                    </a:gs>
                  </a:gsLst>
                  <a:lin ang="5400000" scaled="0"/>
                </a:gradFill>
                <a:cs typeface="Segoe UI" pitchFamily="34" charset="0"/>
              </a:endParaRPr>
            </a:p>
          </p:txBody>
        </p:sp>
        <p:pic>
          <p:nvPicPr>
            <p:cNvPr id="29" name="Picture 28" descr="A screenshot of a cell phone&#10;&#10;Description generated with very high confidence">
              <a:extLst>
                <a:ext uri="{FF2B5EF4-FFF2-40B4-BE49-F238E27FC236}">
                  <a16:creationId xmlns:a16="http://schemas.microsoft.com/office/drawing/2014/main" id="{AD8414C9-0675-4C30-AC04-3AD03457CA64}"/>
                </a:ext>
              </a:extLst>
            </p:cNvPr>
            <p:cNvPicPr>
              <a:picLocks noChangeAspect="1"/>
            </p:cNvPicPr>
            <p:nvPr/>
          </p:nvPicPr>
          <p:blipFill rotWithShape="1">
            <a:blip r:embed="rId4"/>
            <a:srcRect l="451" t="460" r="22034" b="920"/>
            <a:stretch/>
          </p:blipFill>
          <p:spPr>
            <a:xfrm>
              <a:off x="5840805" y="1556443"/>
              <a:ext cx="6351197" cy="4545208"/>
            </a:xfrm>
            <a:custGeom>
              <a:avLst/>
              <a:gdLst>
                <a:gd name="connsiteX0" fmla="*/ 95268 w 6351197"/>
                <a:gd name="connsiteY0" fmla="*/ 0 h 4545208"/>
                <a:gd name="connsiteX1" fmla="*/ 6255929 w 6351197"/>
                <a:gd name="connsiteY1" fmla="*/ 0 h 4545208"/>
                <a:gd name="connsiteX2" fmla="*/ 6351197 w 6351197"/>
                <a:gd name="connsiteY2" fmla="*/ 95268 h 4545208"/>
                <a:gd name="connsiteX3" fmla="*/ 6351197 w 6351197"/>
                <a:gd name="connsiteY3" fmla="*/ 4449940 h 4545208"/>
                <a:gd name="connsiteX4" fmla="*/ 6255929 w 6351197"/>
                <a:gd name="connsiteY4" fmla="*/ 4545208 h 4545208"/>
                <a:gd name="connsiteX5" fmla="*/ 95268 w 6351197"/>
                <a:gd name="connsiteY5" fmla="*/ 4545208 h 4545208"/>
                <a:gd name="connsiteX6" fmla="*/ 0 w 6351197"/>
                <a:gd name="connsiteY6" fmla="*/ 4449940 h 4545208"/>
                <a:gd name="connsiteX7" fmla="*/ 0 w 6351197"/>
                <a:gd name="connsiteY7" fmla="*/ 95268 h 4545208"/>
                <a:gd name="connsiteX8" fmla="*/ 95268 w 6351197"/>
                <a:gd name="connsiteY8" fmla="*/ 0 h 4545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1197" h="4545208">
                  <a:moveTo>
                    <a:pt x="95268" y="0"/>
                  </a:moveTo>
                  <a:lnTo>
                    <a:pt x="6255929" y="0"/>
                  </a:lnTo>
                  <a:cubicBezTo>
                    <a:pt x="6308544" y="0"/>
                    <a:pt x="6351197" y="42653"/>
                    <a:pt x="6351197" y="95268"/>
                  </a:cubicBezTo>
                  <a:lnTo>
                    <a:pt x="6351197" y="4449940"/>
                  </a:lnTo>
                  <a:cubicBezTo>
                    <a:pt x="6351197" y="4502555"/>
                    <a:pt x="6308544" y="4545208"/>
                    <a:pt x="6255929" y="4545208"/>
                  </a:cubicBezTo>
                  <a:lnTo>
                    <a:pt x="95268" y="4545208"/>
                  </a:lnTo>
                  <a:cubicBezTo>
                    <a:pt x="42653" y="4545208"/>
                    <a:pt x="0" y="4502555"/>
                    <a:pt x="0" y="4449940"/>
                  </a:cubicBezTo>
                  <a:lnTo>
                    <a:pt x="0" y="95268"/>
                  </a:lnTo>
                  <a:cubicBezTo>
                    <a:pt x="0" y="42653"/>
                    <a:pt x="42653" y="0"/>
                    <a:pt x="95268" y="0"/>
                  </a:cubicBezTo>
                  <a:close/>
                </a:path>
              </a:pathLst>
            </a:custGeom>
          </p:spPr>
        </p:pic>
      </p:grpSp>
      <p:sp>
        <p:nvSpPr>
          <p:cNvPr id="21" name="Rectangle: Top Corners Rounded 20">
            <a:extLst>
              <a:ext uri="{FF2B5EF4-FFF2-40B4-BE49-F238E27FC236}">
                <a16:creationId xmlns:a16="http://schemas.microsoft.com/office/drawing/2014/main" id="{25D72DCF-5CC5-43C9-B75A-058005056BEE}"/>
              </a:ext>
            </a:extLst>
          </p:cNvPr>
          <p:cNvSpPr/>
          <p:nvPr/>
        </p:nvSpPr>
        <p:spPr bwMode="auto">
          <a:xfrm rot="16200000">
            <a:off x="6331248" y="408286"/>
            <a:ext cx="5100641" cy="6620862"/>
          </a:xfrm>
          <a:prstGeom prst="round2SameRect">
            <a:avLst>
              <a:gd name="adj1" fmla="val 2540"/>
              <a:gd name="adj2" fmla="val 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C848F2E2-4084-48A9-B6B8-06624867E844}"/>
              </a:ext>
            </a:extLst>
          </p:cNvPr>
          <p:cNvGrpSpPr/>
          <p:nvPr/>
        </p:nvGrpSpPr>
        <p:grpSpPr>
          <a:xfrm>
            <a:off x="11082530" y="394996"/>
            <a:ext cx="1109472" cy="553999"/>
            <a:chOff x="11082530" y="394996"/>
            <a:chExt cx="1109472" cy="553999"/>
          </a:xfrm>
        </p:grpSpPr>
        <p:sp>
          <p:nvSpPr>
            <p:cNvPr id="22" name="Rectangle: Top Corners Rounded 21">
              <a:extLst>
                <a:ext uri="{FF2B5EF4-FFF2-40B4-BE49-F238E27FC236}">
                  <a16:creationId xmlns:a16="http://schemas.microsoft.com/office/drawing/2014/main" id="{DEF5655A-5FC2-4614-A60F-8DBB572031D8}"/>
                </a:ext>
              </a:extLst>
            </p:cNvPr>
            <p:cNvSpPr/>
            <p:nvPr/>
          </p:nvSpPr>
          <p:spPr bwMode="auto">
            <a:xfrm rot="16200000">
              <a:off x="11360266" y="117260"/>
              <a:ext cx="553999" cy="1109472"/>
            </a:xfrm>
            <a:prstGeom prst="round2SameRect">
              <a:avLst>
                <a:gd name="adj1" fmla="val 50000"/>
                <a:gd name="adj2" fmla="val 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3" name="Oval 22">
              <a:extLst>
                <a:ext uri="{FF2B5EF4-FFF2-40B4-BE49-F238E27FC236}">
                  <a16:creationId xmlns:a16="http://schemas.microsoft.com/office/drawing/2014/main" id="{704E67C3-C128-47D8-840B-BB8753EB6A8F}"/>
                </a:ext>
              </a:extLst>
            </p:cNvPr>
            <p:cNvSpPr/>
            <p:nvPr/>
          </p:nvSpPr>
          <p:spPr bwMode="auto">
            <a:xfrm>
              <a:off x="11107990" y="418917"/>
              <a:ext cx="506160" cy="50615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rtl="0" fontAlgn="base">
                <a:lnSpc>
                  <a:spcPct val="90000"/>
                </a:lnSpc>
                <a:spcBef>
                  <a:spcPct val="0"/>
                </a:spcBef>
                <a:spcAft>
                  <a:spcPct val="0"/>
                </a:spcAft>
              </a:pPr>
              <a:endParaRPr lang="fr-fr"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4757BEE3-A09A-4EF9-9166-1F842914B95B}"/>
                </a:ext>
              </a:extLst>
            </p:cNvPr>
            <p:cNvGrpSpPr/>
            <p:nvPr/>
          </p:nvGrpSpPr>
          <p:grpSpPr>
            <a:xfrm>
              <a:off x="11216697" y="503612"/>
              <a:ext cx="288746" cy="308194"/>
              <a:chOff x="703263" y="3005138"/>
              <a:chExt cx="415924" cy="420687"/>
            </a:xfrm>
          </p:grpSpPr>
          <p:sp>
            <p:nvSpPr>
              <p:cNvPr id="33" name="Freeform 12">
                <a:extLst>
                  <a:ext uri="{FF2B5EF4-FFF2-40B4-BE49-F238E27FC236}">
                    <a16:creationId xmlns:a16="http://schemas.microsoft.com/office/drawing/2014/main" id="{6D1C5EFA-B0FC-41AF-8105-B6980D18F264}"/>
                  </a:ext>
                </a:extLst>
              </p:cNvPr>
              <p:cNvSpPr>
                <a:spLocks/>
              </p:cNvSpPr>
              <p:nvPr/>
            </p:nvSpPr>
            <p:spPr bwMode="auto">
              <a:xfrm>
                <a:off x="973138" y="3073400"/>
                <a:ext cx="120650" cy="204787"/>
              </a:xfrm>
              <a:custGeom>
                <a:avLst/>
                <a:gdLst>
                  <a:gd name="T0" fmla="*/ 53 w 55"/>
                  <a:gd name="T1" fmla="*/ 94 h 94"/>
                  <a:gd name="T2" fmla="*/ 55 w 55"/>
                  <a:gd name="T3" fmla="*/ 78 h 94"/>
                  <a:gd name="T4" fmla="*/ 0 w 55"/>
                  <a:gd name="T5" fmla="*/ 0 h 94"/>
                </a:gdLst>
                <a:ahLst/>
                <a:cxnLst>
                  <a:cxn ang="0">
                    <a:pos x="T0" y="T1"/>
                  </a:cxn>
                  <a:cxn ang="0">
                    <a:pos x="T2" y="T3"/>
                  </a:cxn>
                  <a:cxn ang="0">
                    <a:pos x="T4" y="T5"/>
                  </a:cxn>
                </a:cxnLst>
                <a:rect l="0" t="0" r="r" b="b"/>
                <a:pathLst>
                  <a:path w="55" h="94">
                    <a:moveTo>
                      <a:pt x="53" y="94"/>
                    </a:moveTo>
                    <a:cubicBezTo>
                      <a:pt x="54" y="89"/>
                      <a:pt x="55" y="84"/>
                      <a:pt x="55" y="78"/>
                    </a:cubicBezTo>
                    <a:cubicBezTo>
                      <a:pt x="55" y="42"/>
                      <a:pt x="32" y="11"/>
                      <a:pt x="0" y="0"/>
                    </a:cubicBezTo>
                  </a:path>
                </a:pathLst>
              </a:custGeom>
              <a:noFill/>
              <a:ln w="12700">
                <a:solidFill>
                  <a:srgbClr val="4B53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solidFill>
                    <a:srgbClr val="E6E6E6"/>
                  </a:solidFill>
                  <a:latin typeface="Segoe UI"/>
                  <a:cs typeface="Segoe UI"/>
                </a:endParaRPr>
              </a:p>
            </p:txBody>
          </p:sp>
          <p:sp>
            <p:nvSpPr>
              <p:cNvPr id="34" name="Freeform 13">
                <a:extLst>
                  <a:ext uri="{FF2B5EF4-FFF2-40B4-BE49-F238E27FC236}">
                    <a16:creationId xmlns:a16="http://schemas.microsoft.com/office/drawing/2014/main" id="{8366B267-6D2A-40BF-A3F6-76274081510E}"/>
                  </a:ext>
                </a:extLst>
              </p:cNvPr>
              <p:cNvSpPr>
                <a:spLocks/>
              </p:cNvSpPr>
              <p:nvPr/>
            </p:nvSpPr>
            <p:spPr bwMode="auto">
              <a:xfrm>
                <a:off x="796925" y="3384550"/>
                <a:ext cx="228600" cy="41275"/>
              </a:xfrm>
              <a:custGeom>
                <a:avLst/>
                <a:gdLst>
                  <a:gd name="T0" fmla="*/ 0 w 104"/>
                  <a:gd name="T1" fmla="*/ 0 h 19"/>
                  <a:gd name="T2" fmla="*/ 52 w 104"/>
                  <a:gd name="T3" fmla="*/ 19 h 19"/>
                  <a:gd name="T4" fmla="*/ 104 w 104"/>
                  <a:gd name="T5" fmla="*/ 0 h 19"/>
                </a:gdLst>
                <a:ahLst/>
                <a:cxnLst>
                  <a:cxn ang="0">
                    <a:pos x="T0" y="T1"/>
                  </a:cxn>
                  <a:cxn ang="0">
                    <a:pos x="T2" y="T3"/>
                  </a:cxn>
                  <a:cxn ang="0">
                    <a:pos x="T4" y="T5"/>
                  </a:cxn>
                </a:cxnLst>
                <a:rect l="0" t="0" r="r" b="b"/>
                <a:pathLst>
                  <a:path w="104" h="19">
                    <a:moveTo>
                      <a:pt x="0" y="0"/>
                    </a:moveTo>
                    <a:cubicBezTo>
                      <a:pt x="14" y="12"/>
                      <a:pt x="32" y="19"/>
                      <a:pt x="52" y="19"/>
                    </a:cubicBezTo>
                    <a:cubicBezTo>
                      <a:pt x="72" y="19"/>
                      <a:pt x="90" y="12"/>
                      <a:pt x="104" y="0"/>
                    </a:cubicBezTo>
                  </a:path>
                </a:pathLst>
              </a:custGeom>
              <a:noFill/>
              <a:ln w="12700">
                <a:solidFill>
                  <a:srgbClr val="4B53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solidFill>
                    <a:srgbClr val="E6E6E6"/>
                  </a:solidFill>
                  <a:latin typeface="Segoe UI"/>
                  <a:cs typeface="Segoe UI"/>
                </a:endParaRPr>
              </a:p>
            </p:txBody>
          </p:sp>
          <p:sp>
            <p:nvSpPr>
              <p:cNvPr id="35" name="Freeform 14">
                <a:extLst>
                  <a:ext uri="{FF2B5EF4-FFF2-40B4-BE49-F238E27FC236}">
                    <a16:creationId xmlns:a16="http://schemas.microsoft.com/office/drawing/2014/main" id="{605140A8-1921-469C-9201-6A09D42CFF9C}"/>
                  </a:ext>
                </a:extLst>
              </p:cNvPr>
              <p:cNvSpPr>
                <a:spLocks/>
              </p:cNvSpPr>
              <p:nvPr/>
            </p:nvSpPr>
            <p:spPr bwMode="auto">
              <a:xfrm>
                <a:off x="730250" y="3073400"/>
                <a:ext cx="120650" cy="204787"/>
              </a:xfrm>
              <a:custGeom>
                <a:avLst/>
                <a:gdLst>
                  <a:gd name="T0" fmla="*/ 55 w 55"/>
                  <a:gd name="T1" fmla="*/ 0 h 94"/>
                  <a:gd name="T2" fmla="*/ 0 w 55"/>
                  <a:gd name="T3" fmla="*/ 78 h 94"/>
                  <a:gd name="T4" fmla="*/ 2 w 55"/>
                  <a:gd name="T5" fmla="*/ 94 h 94"/>
                </a:gdLst>
                <a:ahLst/>
                <a:cxnLst>
                  <a:cxn ang="0">
                    <a:pos x="T0" y="T1"/>
                  </a:cxn>
                  <a:cxn ang="0">
                    <a:pos x="T2" y="T3"/>
                  </a:cxn>
                  <a:cxn ang="0">
                    <a:pos x="T4" y="T5"/>
                  </a:cxn>
                </a:cxnLst>
                <a:rect l="0" t="0" r="r" b="b"/>
                <a:pathLst>
                  <a:path w="55" h="94">
                    <a:moveTo>
                      <a:pt x="55" y="0"/>
                    </a:moveTo>
                    <a:cubicBezTo>
                      <a:pt x="23" y="11"/>
                      <a:pt x="0" y="42"/>
                      <a:pt x="0" y="78"/>
                    </a:cubicBezTo>
                    <a:cubicBezTo>
                      <a:pt x="0" y="84"/>
                      <a:pt x="1" y="89"/>
                      <a:pt x="2" y="94"/>
                    </a:cubicBezTo>
                  </a:path>
                </a:pathLst>
              </a:custGeom>
              <a:noFill/>
              <a:ln w="12700">
                <a:solidFill>
                  <a:srgbClr val="4B53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solidFill>
                    <a:srgbClr val="E6E6E6"/>
                  </a:solidFill>
                  <a:latin typeface="Segoe UI"/>
                  <a:cs typeface="Segoe UI"/>
                </a:endParaRPr>
              </a:p>
            </p:txBody>
          </p:sp>
          <p:sp>
            <p:nvSpPr>
              <p:cNvPr id="36" name="Oval 15">
                <a:extLst>
                  <a:ext uri="{FF2B5EF4-FFF2-40B4-BE49-F238E27FC236}">
                    <a16:creationId xmlns:a16="http://schemas.microsoft.com/office/drawing/2014/main" id="{0A5F5A73-AA27-4261-BA04-45BB55AA5AB5}"/>
                  </a:ext>
                </a:extLst>
              </p:cNvPr>
              <p:cNvSpPr>
                <a:spLocks noChangeArrowheads="1"/>
              </p:cNvSpPr>
              <p:nvPr/>
            </p:nvSpPr>
            <p:spPr bwMode="auto">
              <a:xfrm>
                <a:off x="868363" y="3005138"/>
                <a:ext cx="87312" cy="87312"/>
              </a:xfrm>
              <a:prstGeom prst="ellipse">
                <a:avLst/>
              </a:prstGeom>
              <a:noFill/>
              <a:ln w="12700">
                <a:solidFill>
                  <a:srgbClr val="4B53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solidFill>
                    <a:srgbClr val="E6E6E6"/>
                  </a:solidFill>
                  <a:latin typeface="Segoe UI"/>
                  <a:cs typeface="Segoe UI"/>
                </a:endParaRPr>
              </a:p>
            </p:txBody>
          </p:sp>
          <p:sp>
            <p:nvSpPr>
              <p:cNvPr id="37" name="Oval 16">
                <a:extLst>
                  <a:ext uri="{FF2B5EF4-FFF2-40B4-BE49-F238E27FC236}">
                    <a16:creationId xmlns:a16="http://schemas.microsoft.com/office/drawing/2014/main" id="{CEDE2C26-825E-4BA8-967D-C842A5F6CCC2}"/>
                  </a:ext>
                </a:extLst>
              </p:cNvPr>
              <p:cNvSpPr>
                <a:spLocks noChangeArrowheads="1"/>
              </p:cNvSpPr>
              <p:nvPr/>
            </p:nvSpPr>
            <p:spPr bwMode="auto">
              <a:xfrm>
                <a:off x="703263" y="3303588"/>
                <a:ext cx="87312" cy="87312"/>
              </a:xfrm>
              <a:prstGeom prst="ellipse">
                <a:avLst/>
              </a:prstGeom>
              <a:noFill/>
              <a:ln w="12700">
                <a:solidFill>
                  <a:srgbClr val="4B53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solidFill>
                    <a:srgbClr val="E6E6E6"/>
                  </a:solidFill>
                  <a:latin typeface="Segoe UI"/>
                  <a:cs typeface="Segoe UI"/>
                </a:endParaRPr>
              </a:p>
            </p:txBody>
          </p:sp>
          <p:sp>
            <p:nvSpPr>
              <p:cNvPr id="38" name="Oval 17">
                <a:extLst>
                  <a:ext uri="{FF2B5EF4-FFF2-40B4-BE49-F238E27FC236}">
                    <a16:creationId xmlns:a16="http://schemas.microsoft.com/office/drawing/2014/main" id="{D4DFB3D4-03FC-4983-AD33-9C5EC4C99068}"/>
                  </a:ext>
                </a:extLst>
              </p:cNvPr>
              <p:cNvSpPr>
                <a:spLocks noChangeArrowheads="1"/>
              </p:cNvSpPr>
              <p:nvPr/>
            </p:nvSpPr>
            <p:spPr bwMode="auto">
              <a:xfrm>
                <a:off x="1031875" y="3303588"/>
                <a:ext cx="87312" cy="87312"/>
              </a:xfrm>
              <a:prstGeom prst="ellipse">
                <a:avLst/>
              </a:prstGeom>
              <a:noFill/>
              <a:ln w="12700">
                <a:solidFill>
                  <a:srgbClr val="4B53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solidFill>
                    <a:srgbClr val="E6E6E6"/>
                  </a:solidFill>
                  <a:latin typeface="Segoe UI"/>
                  <a:cs typeface="Segoe UI"/>
                </a:endParaRPr>
              </a:p>
            </p:txBody>
          </p:sp>
        </p:grpSp>
      </p:grpSp>
    </p:spTree>
    <p:extLst>
      <p:ext uri="{BB962C8B-B14F-4D97-AF65-F5344CB8AC3E}">
        <p14:creationId xmlns:p14="http://schemas.microsoft.com/office/powerpoint/2010/main" val="70112696"/>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0B1C4BE1-04CA-407C-976B-A4EACFA7EB6E}"/>
              </a:ext>
            </a:extLst>
          </p:cNvPr>
          <p:cNvGrpSpPr/>
          <p:nvPr/>
        </p:nvGrpSpPr>
        <p:grpSpPr>
          <a:xfrm>
            <a:off x="0" y="1719134"/>
            <a:ext cx="5575201" cy="4549896"/>
            <a:chOff x="0" y="1719134"/>
            <a:chExt cx="5575201" cy="4549896"/>
          </a:xfrm>
        </p:grpSpPr>
        <p:sp>
          <p:nvSpPr>
            <p:cNvPr id="17" name="Freeform: Shape 16">
              <a:extLst>
                <a:ext uri="{FF2B5EF4-FFF2-40B4-BE49-F238E27FC236}">
                  <a16:creationId xmlns:a16="http://schemas.microsoft.com/office/drawing/2014/main" id="{96FE21A0-7EED-42DF-8734-F31137F602BA}"/>
                </a:ext>
              </a:extLst>
            </p:cNvPr>
            <p:cNvSpPr/>
            <p:nvPr/>
          </p:nvSpPr>
          <p:spPr bwMode="auto">
            <a:xfrm>
              <a:off x="588263" y="1720866"/>
              <a:ext cx="4986938" cy="1009897"/>
            </a:xfrm>
            <a:custGeom>
              <a:avLst/>
              <a:gdLst>
                <a:gd name="connsiteX0" fmla="*/ 126363 w 4986938"/>
                <a:gd name="connsiteY0" fmla="*/ 0 h 929616"/>
                <a:gd name="connsiteX1" fmla="*/ 4986938 w 4986938"/>
                <a:gd name="connsiteY1" fmla="*/ 0 h 929616"/>
                <a:gd name="connsiteX2" fmla="*/ 4986938 w 4986938"/>
                <a:gd name="connsiteY2" fmla="*/ 929616 h 929616"/>
                <a:gd name="connsiteX3" fmla="*/ 0 w 4986938"/>
                <a:gd name="connsiteY3" fmla="*/ 929616 h 929616"/>
                <a:gd name="connsiteX4" fmla="*/ 0 w 4986938"/>
                <a:gd name="connsiteY4" fmla="*/ 126363 h 929616"/>
                <a:gd name="connsiteX5" fmla="*/ 126363 w 4986938"/>
                <a:gd name="connsiteY5" fmla="*/ 0 h 92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6938" h="929616">
                  <a:moveTo>
                    <a:pt x="126363" y="0"/>
                  </a:moveTo>
                  <a:lnTo>
                    <a:pt x="4986938" y="0"/>
                  </a:lnTo>
                  <a:lnTo>
                    <a:pt x="4986938" y="929616"/>
                  </a:lnTo>
                  <a:lnTo>
                    <a:pt x="0" y="929616"/>
                  </a:lnTo>
                  <a:lnTo>
                    <a:pt x="0" y="126363"/>
                  </a:lnTo>
                  <a:cubicBezTo>
                    <a:pt x="0" y="56575"/>
                    <a:pt x="56575" y="0"/>
                    <a:pt x="126363" y="0"/>
                  </a:cubicBezTo>
                  <a:close/>
                </a:path>
              </a:pathLst>
            </a:cu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0" bIns="45720" numCol="1" spcCol="0" rtlCol="0" fromWordArt="0" anchor="ctr" anchorCtr="0" forceAA="0" compatLnSpc="1">
              <a:prstTxWarp prst="textNoShape">
                <a:avLst/>
              </a:prstTxWarp>
              <a:noAutofit/>
            </a:bodyPr>
            <a:lstStyle/>
            <a:p>
              <a:pPr algn="l" defTabSz="932472" rtl="0" fontAlgn="base">
                <a:spcBef>
                  <a:spcPct val="0"/>
                </a:spcBef>
                <a:spcAft>
                  <a:spcPct val="0"/>
                </a:spcAft>
              </a:pPr>
              <a:r>
                <a:rPr lang="fr-fr" sz="2000" b="0" i="0" u="none" baseline="0" dirty="0">
                  <a:solidFill>
                    <a:schemeClr val="bg1"/>
                  </a:solidFill>
                  <a:latin typeface="+mj-lt"/>
                  <a:ea typeface="Segoe UI" pitchFamily="34" charset="0"/>
                  <a:cs typeface="Segoe UI" pitchFamily="34" charset="0"/>
                </a:rPr>
                <a:t>Adaptez votre espace de travail pour y inclure les applications et services utiles </a:t>
              </a:r>
              <a:br>
                <a:rPr lang="fr-fr" sz="2000" b="0" i="0" u="none" baseline="0" dirty="0">
                  <a:solidFill>
                    <a:schemeClr val="bg1"/>
                  </a:solidFill>
                  <a:latin typeface="+mj-lt"/>
                  <a:ea typeface="Segoe UI" pitchFamily="34" charset="0"/>
                  <a:cs typeface="Segoe UI" pitchFamily="34" charset="0"/>
                </a:rPr>
              </a:br>
              <a:r>
                <a:rPr lang="fr-fr" sz="2000" b="0" i="0" u="none" baseline="0" dirty="0">
                  <a:solidFill>
                    <a:schemeClr val="bg1"/>
                  </a:solidFill>
                  <a:latin typeface="+mj-lt"/>
                  <a:ea typeface="Segoe UI" pitchFamily="34" charset="0"/>
                  <a:cs typeface="Segoe UI" pitchFamily="34" charset="0"/>
                </a:rPr>
                <a:t>à votre équipe</a:t>
              </a:r>
            </a:p>
          </p:txBody>
        </p:sp>
        <p:sp>
          <p:nvSpPr>
            <p:cNvPr id="18" name="Arrow: Bent 17">
              <a:extLst>
                <a:ext uri="{FF2B5EF4-FFF2-40B4-BE49-F238E27FC236}">
                  <a16:creationId xmlns:a16="http://schemas.microsoft.com/office/drawing/2014/main" id="{9C78E14C-BF92-4B1E-82B2-34F570895CEA}"/>
                </a:ext>
              </a:extLst>
            </p:cNvPr>
            <p:cNvSpPr/>
            <p:nvPr/>
          </p:nvSpPr>
          <p:spPr bwMode="auto">
            <a:xfrm>
              <a:off x="588263" y="1719134"/>
              <a:ext cx="4948937" cy="2173288"/>
            </a:xfrm>
            <a:prstGeom prst="bentArrow">
              <a:avLst>
                <a:gd name="adj1" fmla="val 25000"/>
                <a:gd name="adj2" fmla="val 0"/>
                <a:gd name="adj3" fmla="val 25000"/>
                <a:gd name="adj4" fmla="val 556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19" name="Arrow: Bent 18">
              <a:extLst>
                <a:ext uri="{FF2B5EF4-FFF2-40B4-BE49-F238E27FC236}">
                  <a16:creationId xmlns:a16="http://schemas.microsoft.com/office/drawing/2014/main" id="{7356878C-8A9A-46C3-9A93-1D452B97F8BE}"/>
                </a:ext>
              </a:extLst>
            </p:cNvPr>
            <p:cNvSpPr/>
            <p:nvPr/>
          </p:nvSpPr>
          <p:spPr bwMode="auto">
            <a:xfrm flipH="1" flipV="1">
              <a:off x="0" y="3541711"/>
              <a:ext cx="588262" cy="2727319"/>
            </a:xfrm>
            <a:prstGeom prst="bentArrow">
              <a:avLst>
                <a:gd name="adj1" fmla="val 25000"/>
                <a:gd name="adj2" fmla="val 0"/>
                <a:gd name="adj3" fmla="val 25000"/>
                <a:gd name="adj4" fmla="val 20514"/>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95735046-B74C-4938-AFFF-2ADAD3B687BC}"/>
                </a:ext>
              </a:extLst>
            </p:cNvPr>
            <p:cNvSpPr/>
            <p:nvPr/>
          </p:nvSpPr>
          <p:spPr>
            <a:xfrm>
              <a:off x="420924" y="2730764"/>
              <a:ext cx="4986938" cy="3477875"/>
            </a:xfrm>
            <a:prstGeom prst="rect">
              <a:avLst/>
            </a:prstGeom>
          </p:spPr>
          <p:txBody>
            <a:bodyPr wrap="square" anchor="t">
              <a:spAutoFit/>
            </a:bodyPr>
            <a:lstStyle/>
            <a:p>
              <a:pPr marL="285750" indent="-285750" algn="l" rtl="0" fontAlgn="base">
                <a:spcBef>
                  <a:spcPts val="1200"/>
                </a:spcBef>
                <a:buClr>
                  <a:srgbClr val="4B53BC"/>
                </a:buClr>
                <a:buSzPct val="100000"/>
                <a:buBlip>
                  <a:blip r:embed="rId3"/>
                </a:buBlip>
                <a:defRPr/>
              </a:pPr>
              <a:r>
                <a:rPr lang="fr-fr" b="0" i="0" u="none" baseline="0" dirty="0">
                  <a:cs typeface="Segoe UI"/>
                </a:rPr>
                <a:t>Épinglez les fichiers importants dans l</a:t>
              </a:r>
              <a:r>
                <a:rPr lang="fr-FR" b="0" i="0" u="none" baseline="0" dirty="0">
                  <a:cs typeface="Segoe UI"/>
                </a:rPr>
                <a:t>’</a:t>
              </a:r>
              <a:r>
                <a:rPr lang="fr-fr" b="0" i="0" u="none" baseline="0" dirty="0">
                  <a:cs typeface="Segoe UI"/>
                </a:rPr>
                <a:t>espace de travail pour vous y reporter facilement</a:t>
              </a:r>
            </a:p>
            <a:p>
              <a:pPr marL="285750" indent="-285750" algn="l" rtl="0" fontAlgn="base">
                <a:spcBef>
                  <a:spcPts val="1200"/>
                </a:spcBef>
                <a:buClr>
                  <a:srgbClr val="4B53BC"/>
                </a:buClr>
                <a:buSzPct val="100000"/>
                <a:buBlip>
                  <a:blip r:embed="rId3"/>
                </a:buBlip>
                <a:defRPr/>
              </a:pPr>
              <a:r>
                <a:rPr lang="fr-fr" b="0" i="0" u="none" baseline="0" dirty="0">
                  <a:cs typeface="Segoe UI"/>
                </a:rPr>
                <a:t>Ajoutez des bots qui travaillent pour le compte de votre équipe</a:t>
              </a:r>
            </a:p>
            <a:p>
              <a:pPr marL="285750" indent="-285750" algn="l" rtl="0" fontAlgn="base">
                <a:spcBef>
                  <a:spcPts val="1200"/>
                </a:spcBef>
                <a:buClr>
                  <a:srgbClr val="4B53BC"/>
                </a:buClr>
                <a:buSzPct val="100000"/>
                <a:buBlip>
                  <a:blip r:embed="rId3"/>
                </a:buBlip>
                <a:defRPr/>
              </a:pPr>
              <a:r>
                <a:rPr lang="fr-fr" b="0" i="0" u="none" baseline="0" dirty="0">
                  <a:cs typeface="Segoe UI"/>
                </a:rPr>
                <a:t>Intégrez les services tiers que votre équipe </a:t>
              </a:r>
              <a:br>
                <a:rPr lang="fr-fr" dirty="0">
                  <a:cs typeface="Segoe UI"/>
                </a:rPr>
              </a:br>
              <a:r>
                <a:rPr lang="fr-fr" b="0" i="0" u="none" baseline="0" dirty="0">
                  <a:cs typeface="Segoe UI"/>
                </a:rPr>
                <a:t>utilise tous les jours</a:t>
              </a:r>
            </a:p>
            <a:p>
              <a:pPr marL="285750" indent="-285750" algn="l" rtl="0" fontAlgn="base">
                <a:spcBef>
                  <a:spcPts val="1200"/>
                </a:spcBef>
                <a:buClr>
                  <a:srgbClr val="4B53BC"/>
                </a:buClr>
                <a:buSzPct val="100000"/>
                <a:buBlip>
                  <a:blip r:embed="rId3"/>
                </a:buBlip>
                <a:defRPr/>
              </a:pPr>
              <a:r>
                <a:rPr lang="fr-fr" b="0" i="0" u="none" baseline="0" dirty="0">
                  <a:cs typeface="Segoe UI"/>
                </a:rPr>
                <a:t>Créez des intégrations dans des processus métier existants</a:t>
              </a:r>
            </a:p>
            <a:p>
              <a:pPr marL="285750" indent="-285750" algn="l" rtl="0" fontAlgn="base">
                <a:spcBef>
                  <a:spcPts val="1200"/>
                </a:spcBef>
                <a:buClr>
                  <a:srgbClr val="4B53BC"/>
                </a:buClr>
                <a:buSzPct val="100000"/>
                <a:buBlip>
                  <a:blip r:embed="rId3"/>
                </a:buBlip>
                <a:defRPr/>
              </a:pPr>
              <a:r>
                <a:rPr lang="fr-fr" b="0" i="0" u="none" baseline="0" dirty="0">
                  <a:cs typeface="Segoe UI"/>
                </a:rPr>
                <a:t>Gérez les applications fiables pour les employés et votre entreprise </a:t>
              </a:r>
            </a:p>
          </p:txBody>
        </p:sp>
      </p:grpSp>
      <p:sp>
        <p:nvSpPr>
          <p:cNvPr id="4" name="Title 3">
            <a:extLst>
              <a:ext uri="{FF2B5EF4-FFF2-40B4-BE49-F238E27FC236}">
                <a16:creationId xmlns:a16="http://schemas.microsoft.com/office/drawing/2014/main" id="{D7DB347B-28F6-4B3F-B2AB-7DC5E1CAE6DD}"/>
              </a:ext>
            </a:extLst>
          </p:cNvPr>
          <p:cNvSpPr>
            <a:spLocks noGrp="1"/>
          </p:cNvSpPr>
          <p:nvPr>
            <p:ph type="title"/>
          </p:nvPr>
        </p:nvSpPr>
        <p:spPr/>
        <p:txBody>
          <a:bodyPr/>
          <a:lstStyle/>
          <a:p>
            <a:pPr algn="l" rtl="0"/>
            <a:r>
              <a:rPr lang="fr-fr" b="0" i="0" u="none" baseline="0"/>
              <a:t>Personnalisez et étendez la collaboration</a:t>
            </a:r>
            <a:endParaRPr lang="fr-fr" dirty="0"/>
          </a:p>
        </p:txBody>
      </p:sp>
      <p:grpSp>
        <p:nvGrpSpPr>
          <p:cNvPr id="2" name="Group 1">
            <a:extLst>
              <a:ext uri="{FF2B5EF4-FFF2-40B4-BE49-F238E27FC236}">
                <a16:creationId xmlns:a16="http://schemas.microsoft.com/office/drawing/2014/main" id="{8775EFE4-CA25-4D2D-813C-9F7871EA06F7}"/>
              </a:ext>
            </a:extLst>
          </p:cNvPr>
          <p:cNvGrpSpPr/>
          <p:nvPr/>
        </p:nvGrpSpPr>
        <p:grpSpPr>
          <a:xfrm>
            <a:off x="5699126" y="1299369"/>
            <a:ext cx="6492877" cy="4838697"/>
            <a:chOff x="5699126" y="1409699"/>
            <a:chExt cx="6492877" cy="4838697"/>
          </a:xfrm>
        </p:grpSpPr>
        <p:sp>
          <p:nvSpPr>
            <p:cNvPr id="26" name="Rectangle: Top Corners Rounded 25">
              <a:extLst>
                <a:ext uri="{FF2B5EF4-FFF2-40B4-BE49-F238E27FC236}">
                  <a16:creationId xmlns:a16="http://schemas.microsoft.com/office/drawing/2014/main" id="{C07E2DE9-64BE-45C1-9C5A-AFA8404F944A}"/>
                </a:ext>
              </a:extLst>
            </p:cNvPr>
            <p:cNvSpPr/>
            <p:nvPr/>
          </p:nvSpPr>
          <p:spPr bwMode="auto">
            <a:xfrm rot="16200000">
              <a:off x="6526215" y="582610"/>
              <a:ext cx="4838697" cy="6492875"/>
            </a:xfrm>
            <a:prstGeom prst="round2SameRect">
              <a:avLst>
                <a:gd name="adj1" fmla="val 1874"/>
                <a:gd name="adj2" fmla="val 0"/>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rtl="0" fontAlgn="base">
                <a:spcBef>
                  <a:spcPct val="0"/>
                </a:spcBef>
                <a:spcAft>
                  <a:spcPct val="0"/>
                </a:spcAft>
              </a:pPr>
              <a:endParaRPr lang="fr-fr" sz="2400" dirty="0" err="1">
                <a:gradFill>
                  <a:gsLst>
                    <a:gs pos="0">
                      <a:srgbClr val="FFFFFF"/>
                    </a:gs>
                    <a:gs pos="100000">
                      <a:srgbClr val="FFFFFF"/>
                    </a:gs>
                  </a:gsLst>
                  <a:lin ang="5400000" scaled="0"/>
                </a:gradFill>
                <a:cs typeface="Segoe UI" pitchFamily="34" charset="0"/>
              </a:endParaRPr>
            </a:p>
          </p:txBody>
        </p:sp>
        <p:pic>
          <p:nvPicPr>
            <p:cNvPr id="36" name="Picture 35">
              <a:extLst>
                <a:ext uri="{FF2B5EF4-FFF2-40B4-BE49-F238E27FC236}">
                  <a16:creationId xmlns:a16="http://schemas.microsoft.com/office/drawing/2014/main" id="{225520E2-BEF3-414F-9B64-5AD0ABBD2FE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562" t="392" r="1067" b="1587"/>
            <a:stretch/>
          </p:blipFill>
          <p:spPr>
            <a:xfrm>
              <a:off x="5840806" y="1556443"/>
              <a:ext cx="6351197" cy="4545208"/>
            </a:xfrm>
            <a:custGeom>
              <a:avLst/>
              <a:gdLst>
                <a:gd name="connsiteX0" fmla="*/ 95268 w 6351197"/>
                <a:gd name="connsiteY0" fmla="*/ 0 h 4545208"/>
                <a:gd name="connsiteX1" fmla="*/ 6255929 w 6351197"/>
                <a:gd name="connsiteY1" fmla="*/ 0 h 4545208"/>
                <a:gd name="connsiteX2" fmla="*/ 6351197 w 6351197"/>
                <a:gd name="connsiteY2" fmla="*/ 95268 h 4545208"/>
                <a:gd name="connsiteX3" fmla="*/ 6351197 w 6351197"/>
                <a:gd name="connsiteY3" fmla="*/ 4449940 h 4545208"/>
                <a:gd name="connsiteX4" fmla="*/ 6255929 w 6351197"/>
                <a:gd name="connsiteY4" fmla="*/ 4545208 h 4545208"/>
                <a:gd name="connsiteX5" fmla="*/ 95268 w 6351197"/>
                <a:gd name="connsiteY5" fmla="*/ 4545208 h 4545208"/>
                <a:gd name="connsiteX6" fmla="*/ 0 w 6351197"/>
                <a:gd name="connsiteY6" fmla="*/ 4449940 h 4545208"/>
                <a:gd name="connsiteX7" fmla="*/ 0 w 6351197"/>
                <a:gd name="connsiteY7" fmla="*/ 95268 h 4545208"/>
                <a:gd name="connsiteX8" fmla="*/ 95268 w 6351197"/>
                <a:gd name="connsiteY8" fmla="*/ 0 h 4545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1197" h="4545208">
                  <a:moveTo>
                    <a:pt x="95268" y="0"/>
                  </a:moveTo>
                  <a:lnTo>
                    <a:pt x="6255929" y="0"/>
                  </a:lnTo>
                  <a:cubicBezTo>
                    <a:pt x="6308544" y="0"/>
                    <a:pt x="6351197" y="42653"/>
                    <a:pt x="6351197" y="95268"/>
                  </a:cubicBezTo>
                  <a:lnTo>
                    <a:pt x="6351197" y="4449940"/>
                  </a:lnTo>
                  <a:cubicBezTo>
                    <a:pt x="6351197" y="4502555"/>
                    <a:pt x="6308544" y="4545208"/>
                    <a:pt x="6255929" y="4545208"/>
                  </a:cubicBezTo>
                  <a:lnTo>
                    <a:pt x="95268" y="4545208"/>
                  </a:lnTo>
                  <a:cubicBezTo>
                    <a:pt x="42653" y="4545208"/>
                    <a:pt x="0" y="4502555"/>
                    <a:pt x="0" y="4449940"/>
                  </a:cubicBezTo>
                  <a:lnTo>
                    <a:pt x="0" y="95268"/>
                  </a:lnTo>
                  <a:cubicBezTo>
                    <a:pt x="0" y="42653"/>
                    <a:pt x="42653" y="0"/>
                    <a:pt x="95268" y="0"/>
                  </a:cubicBezTo>
                  <a:close/>
                </a:path>
              </a:pathLst>
            </a:custGeom>
          </p:spPr>
        </p:pic>
      </p:grpSp>
      <p:sp>
        <p:nvSpPr>
          <p:cNvPr id="23" name="Rectangle: Top Corners Rounded 22">
            <a:extLst>
              <a:ext uri="{FF2B5EF4-FFF2-40B4-BE49-F238E27FC236}">
                <a16:creationId xmlns:a16="http://schemas.microsoft.com/office/drawing/2014/main" id="{DDD33A87-E4FB-4B3E-962C-A440A217B939}"/>
              </a:ext>
            </a:extLst>
          </p:cNvPr>
          <p:cNvSpPr/>
          <p:nvPr/>
        </p:nvSpPr>
        <p:spPr bwMode="auto">
          <a:xfrm rot="16200000">
            <a:off x="6331248" y="408286"/>
            <a:ext cx="5100641" cy="6620862"/>
          </a:xfrm>
          <a:prstGeom prst="round2SameRect">
            <a:avLst>
              <a:gd name="adj1" fmla="val 2540"/>
              <a:gd name="adj2" fmla="val 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24C6ABDC-3E51-4981-AE57-D73238F7D839}"/>
              </a:ext>
            </a:extLst>
          </p:cNvPr>
          <p:cNvGrpSpPr/>
          <p:nvPr/>
        </p:nvGrpSpPr>
        <p:grpSpPr>
          <a:xfrm>
            <a:off x="11082530" y="394996"/>
            <a:ext cx="1109472" cy="553999"/>
            <a:chOff x="11082530" y="394996"/>
            <a:chExt cx="1109472" cy="553999"/>
          </a:xfrm>
        </p:grpSpPr>
        <p:sp>
          <p:nvSpPr>
            <p:cNvPr id="21" name="Rectangle: Top Corners Rounded 20">
              <a:extLst>
                <a:ext uri="{FF2B5EF4-FFF2-40B4-BE49-F238E27FC236}">
                  <a16:creationId xmlns:a16="http://schemas.microsoft.com/office/drawing/2014/main" id="{FBD06A1A-F2C7-467A-8F06-0C6778DE102E}"/>
                </a:ext>
              </a:extLst>
            </p:cNvPr>
            <p:cNvSpPr/>
            <p:nvPr/>
          </p:nvSpPr>
          <p:spPr bwMode="auto">
            <a:xfrm rot="16200000">
              <a:off x="11360266" y="117260"/>
              <a:ext cx="553999" cy="1109472"/>
            </a:xfrm>
            <a:prstGeom prst="round2SameRect">
              <a:avLst>
                <a:gd name="adj1" fmla="val 50000"/>
                <a:gd name="adj2" fmla="val 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22" name="Oval 21">
              <a:extLst>
                <a:ext uri="{FF2B5EF4-FFF2-40B4-BE49-F238E27FC236}">
                  <a16:creationId xmlns:a16="http://schemas.microsoft.com/office/drawing/2014/main" id="{5077EA88-8CE9-4910-B52C-1564F4B021DB}"/>
                </a:ext>
              </a:extLst>
            </p:cNvPr>
            <p:cNvSpPr/>
            <p:nvPr/>
          </p:nvSpPr>
          <p:spPr bwMode="auto">
            <a:xfrm>
              <a:off x="11107990" y="418917"/>
              <a:ext cx="506160" cy="50615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rtl="0" fontAlgn="base">
                <a:lnSpc>
                  <a:spcPct val="90000"/>
                </a:lnSpc>
                <a:spcBef>
                  <a:spcPct val="0"/>
                </a:spcBef>
                <a:spcAft>
                  <a:spcPct val="0"/>
                </a:spcAft>
              </a:pPr>
              <a:endParaRPr lang="fr-fr"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8" name="Group 27">
              <a:extLst>
                <a:ext uri="{FF2B5EF4-FFF2-40B4-BE49-F238E27FC236}">
                  <a16:creationId xmlns:a16="http://schemas.microsoft.com/office/drawing/2014/main" id="{AFFA659E-C10F-47EA-8B4F-CB600F79AF98}"/>
                </a:ext>
              </a:extLst>
            </p:cNvPr>
            <p:cNvGrpSpPr/>
            <p:nvPr/>
          </p:nvGrpSpPr>
          <p:grpSpPr>
            <a:xfrm>
              <a:off x="11237198" y="523699"/>
              <a:ext cx="247744" cy="296594"/>
              <a:chOff x="11224150" y="508708"/>
              <a:chExt cx="247744" cy="296594"/>
            </a:xfrm>
          </p:grpSpPr>
          <p:sp>
            <p:nvSpPr>
              <p:cNvPr id="30" name="Line 198">
                <a:extLst>
                  <a:ext uri="{FF2B5EF4-FFF2-40B4-BE49-F238E27FC236}">
                    <a16:creationId xmlns:a16="http://schemas.microsoft.com/office/drawing/2014/main" id="{4A94C284-B481-4EA0-BC2E-D7F91A2339FE}"/>
                  </a:ext>
                </a:extLst>
              </p:cNvPr>
              <p:cNvSpPr>
                <a:spLocks noChangeShapeType="1"/>
              </p:cNvSpPr>
              <p:nvPr/>
            </p:nvSpPr>
            <p:spPr bwMode="auto">
              <a:xfrm rot="5400000">
                <a:off x="11297427" y="657005"/>
                <a:ext cx="296594" cy="0"/>
              </a:xfrm>
              <a:prstGeom prst="line">
                <a:avLst/>
              </a:prstGeom>
              <a:noFill/>
              <a:ln w="12700">
                <a:solidFill>
                  <a:srgbClr val="4B53BC"/>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solidFill>
                    <a:srgbClr val="E6E6E6"/>
                  </a:solidFill>
                  <a:latin typeface="Segoe UI"/>
                </a:endParaRPr>
              </a:p>
            </p:txBody>
          </p:sp>
          <p:sp>
            <p:nvSpPr>
              <p:cNvPr id="31" name="Line 199">
                <a:extLst>
                  <a:ext uri="{FF2B5EF4-FFF2-40B4-BE49-F238E27FC236}">
                    <a16:creationId xmlns:a16="http://schemas.microsoft.com/office/drawing/2014/main" id="{8498C801-FFF0-4400-A805-5445923D8565}"/>
                  </a:ext>
                </a:extLst>
              </p:cNvPr>
              <p:cNvSpPr>
                <a:spLocks noChangeShapeType="1"/>
              </p:cNvSpPr>
              <p:nvPr/>
            </p:nvSpPr>
            <p:spPr bwMode="auto">
              <a:xfrm rot="5400000">
                <a:off x="11199725" y="657005"/>
                <a:ext cx="296594" cy="0"/>
              </a:xfrm>
              <a:prstGeom prst="line">
                <a:avLst/>
              </a:prstGeom>
              <a:noFill/>
              <a:ln w="12700">
                <a:solidFill>
                  <a:srgbClr val="4B53BC"/>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solidFill>
                    <a:srgbClr val="E6E6E6"/>
                  </a:solidFill>
                  <a:latin typeface="Segoe UI"/>
                </a:endParaRPr>
              </a:p>
            </p:txBody>
          </p:sp>
          <p:sp>
            <p:nvSpPr>
              <p:cNvPr id="32" name="Line 200">
                <a:extLst>
                  <a:ext uri="{FF2B5EF4-FFF2-40B4-BE49-F238E27FC236}">
                    <a16:creationId xmlns:a16="http://schemas.microsoft.com/office/drawing/2014/main" id="{58F5BE84-01EF-4A79-BEA0-A18895F4D2F0}"/>
                  </a:ext>
                </a:extLst>
              </p:cNvPr>
              <p:cNvSpPr>
                <a:spLocks noChangeShapeType="1"/>
              </p:cNvSpPr>
              <p:nvPr/>
            </p:nvSpPr>
            <p:spPr bwMode="auto">
              <a:xfrm rot="5400000">
                <a:off x="11100279" y="657005"/>
                <a:ext cx="296594" cy="0"/>
              </a:xfrm>
              <a:prstGeom prst="line">
                <a:avLst/>
              </a:prstGeom>
              <a:noFill/>
              <a:ln w="12700">
                <a:solidFill>
                  <a:srgbClr val="4B53BC"/>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solidFill>
                    <a:srgbClr val="E6E6E6"/>
                  </a:solidFill>
                  <a:latin typeface="Segoe UI"/>
                </a:endParaRPr>
              </a:p>
            </p:txBody>
          </p:sp>
          <p:sp>
            <p:nvSpPr>
              <p:cNvPr id="33" name="Oval 209">
                <a:extLst>
                  <a:ext uri="{FF2B5EF4-FFF2-40B4-BE49-F238E27FC236}">
                    <a16:creationId xmlns:a16="http://schemas.microsoft.com/office/drawing/2014/main" id="{429F5DDC-52F3-4008-9778-750DCF2FBD1E}"/>
                  </a:ext>
                </a:extLst>
              </p:cNvPr>
              <p:cNvSpPr>
                <a:spLocks noChangeArrowheads="1"/>
              </p:cNvSpPr>
              <p:nvPr/>
            </p:nvSpPr>
            <p:spPr bwMode="auto">
              <a:xfrm rot="5400000">
                <a:off x="11421298" y="672708"/>
                <a:ext cx="50596" cy="50596"/>
              </a:xfrm>
              <a:prstGeom prst="ellipse">
                <a:avLst/>
              </a:prstGeom>
              <a:solidFill>
                <a:schemeClr val="bg1"/>
              </a:solidFill>
              <a:ln w="12700">
                <a:solidFill>
                  <a:srgbClr val="4B53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solidFill>
                    <a:srgbClr val="E6E6E6"/>
                  </a:solidFill>
                  <a:latin typeface="Segoe UI"/>
                </a:endParaRPr>
              </a:p>
            </p:txBody>
          </p:sp>
          <p:sp>
            <p:nvSpPr>
              <p:cNvPr id="34" name="Oval 210">
                <a:extLst>
                  <a:ext uri="{FF2B5EF4-FFF2-40B4-BE49-F238E27FC236}">
                    <a16:creationId xmlns:a16="http://schemas.microsoft.com/office/drawing/2014/main" id="{A31E6ACF-8A21-487B-A53F-B527690472B6}"/>
                  </a:ext>
                </a:extLst>
              </p:cNvPr>
              <p:cNvSpPr>
                <a:spLocks noChangeArrowheads="1"/>
              </p:cNvSpPr>
              <p:nvPr/>
            </p:nvSpPr>
            <p:spPr bwMode="auto">
              <a:xfrm rot="5400000">
                <a:off x="11321851" y="557560"/>
                <a:ext cx="50596" cy="50596"/>
              </a:xfrm>
              <a:prstGeom prst="ellipse">
                <a:avLst/>
              </a:prstGeom>
              <a:solidFill>
                <a:schemeClr val="bg1"/>
              </a:solidFill>
              <a:ln w="12700">
                <a:solidFill>
                  <a:srgbClr val="4B53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solidFill>
                    <a:srgbClr val="E6E6E6"/>
                  </a:solidFill>
                  <a:latin typeface="Segoe UI"/>
                </a:endParaRPr>
              </a:p>
            </p:txBody>
          </p:sp>
          <p:sp>
            <p:nvSpPr>
              <p:cNvPr id="35" name="Oval 211">
                <a:extLst>
                  <a:ext uri="{FF2B5EF4-FFF2-40B4-BE49-F238E27FC236}">
                    <a16:creationId xmlns:a16="http://schemas.microsoft.com/office/drawing/2014/main" id="{76985D9D-A751-4103-9B82-7ECDB2D0A176}"/>
                  </a:ext>
                </a:extLst>
              </p:cNvPr>
              <p:cNvSpPr>
                <a:spLocks noChangeArrowheads="1"/>
              </p:cNvSpPr>
              <p:nvPr/>
            </p:nvSpPr>
            <p:spPr bwMode="auto">
              <a:xfrm rot="5400000">
                <a:off x="11224150" y="641304"/>
                <a:ext cx="48851" cy="48851"/>
              </a:xfrm>
              <a:prstGeom prst="ellipse">
                <a:avLst/>
              </a:prstGeom>
              <a:solidFill>
                <a:schemeClr val="bg1"/>
              </a:solidFill>
              <a:ln w="12700">
                <a:solidFill>
                  <a:srgbClr val="4B53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solidFill>
                    <a:srgbClr val="E6E6E6"/>
                  </a:solidFill>
                  <a:latin typeface="Segoe UI"/>
                </a:endParaRPr>
              </a:p>
            </p:txBody>
          </p:sp>
        </p:grpSp>
      </p:grpSp>
    </p:spTree>
    <p:extLst>
      <p:ext uri="{BB962C8B-B14F-4D97-AF65-F5344CB8AC3E}">
        <p14:creationId xmlns:p14="http://schemas.microsoft.com/office/powerpoint/2010/main" val="2319708511"/>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9"/>
</p:tagLst>
</file>

<file path=ppt/tags/tag2.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0"/>
</p:tagLst>
</file>

<file path=ppt/tags/tag3.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1"/>
</p:tagLst>
</file>

<file path=ppt/tags/tag4.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2"/>
</p:tagLst>
</file>

<file path=ppt/tags/tag5.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3"/>
</p:tagLst>
</file>

<file path=ppt/tags/tag6.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4"/>
</p:tagLst>
</file>

<file path=ppt/tags/tag7.xml><?xml version="1.0" encoding="utf-8"?>
<p:tagLst xmlns:a="http://schemas.openxmlformats.org/drawingml/2006/main" xmlns:r="http://schemas.openxmlformats.org/officeDocument/2006/relationships" xmlns:p="http://schemas.openxmlformats.org/presentationml/2006/main">
  <p:tag name="POWER_USER_DIAGRAM_RELATIONSHIP_MIDDLE_CIRCLE" val="POWER_USER_DIAGRAM_RELATIONSHIP_MIDDLE_CIRCLE"/>
</p:tagLst>
</file>

<file path=ppt/tags/tag8.xml><?xml version="1.0" encoding="utf-8"?>
<p:tagLst xmlns:a="http://schemas.openxmlformats.org/drawingml/2006/main" xmlns:r="http://schemas.openxmlformats.org/officeDocument/2006/relationships" xmlns:p="http://schemas.openxmlformats.org/presentationml/2006/main">
  <p:tag name="POWER_USER_DIAGRAM_RELATIONSHIP_MIDDLE_CIRCLE" val="POWER_USER_DIAGRAM_RELATIONSHIP_MIDDLE_CIRCLE"/>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KAt" id="{7CB51D46-7ACE-4F03-869D-903815588280}" vid="{635F88FE-DEF2-4670-982D-DBEAD03CD0C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03068A6C218A84EB3BCF7C8CFE1E1AE" ma:contentTypeVersion="2" ma:contentTypeDescription="Create a new document." ma:contentTypeScope="" ma:versionID="81ea28bfc79a259f7d28cdaed25ea2ba">
  <xsd:schema xmlns:xsd="http://www.w3.org/2001/XMLSchema" xmlns:xs="http://www.w3.org/2001/XMLSchema" xmlns:p="http://schemas.microsoft.com/office/2006/metadata/properties" xmlns:ns2="8c85394a-6465-40d3-821b-4062e5603454" targetNamespace="http://schemas.microsoft.com/office/2006/metadata/properties" ma:root="true" ma:fieldsID="0c13559da588b8fea89d19c009ea6732" ns2:_="">
    <xsd:import namespace="8c85394a-6465-40d3-821b-4062e560345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85394a-6465-40d3-821b-4062e560345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834B7BB-30CF-4B51-9401-4B04628084DE}">
  <ds:schemaRefs>
    <ds:schemaRef ds:uri="http://schemas.microsoft.com/sharepoint/v3/contenttype/forms"/>
  </ds:schemaRefs>
</ds:datastoreItem>
</file>

<file path=customXml/itemProps2.xml><?xml version="1.0" encoding="utf-8"?>
<ds:datastoreItem xmlns:ds="http://schemas.openxmlformats.org/officeDocument/2006/customXml" ds:itemID="{6C385A52-07A4-45FD-93E5-18B1DCFDF3FF}"/>
</file>

<file path=customXml/itemProps3.xml><?xml version="1.0" encoding="utf-8"?>
<ds:datastoreItem xmlns:ds="http://schemas.openxmlformats.org/officeDocument/2006/customXml" ds:itemID="{73601A14-899C-4B9C-B0A3-FF9FF8B769E5}">
  <ds:schemaRefs>
    <ds:schemaRef ds:uri="http://schemas.microsoft.com/office/2006/documentManagement/types"/>
    <ds:schemaRef ds:uri="7a20bb1a-2526-436b-a0aa-406322af6dcc"/>
    <ds:schemaRef ds:uri="http://purl.org/dc/terms/"/>
    <ds:schemaRef ds:uri="http://purl.org/dc/dcmitype/"/>
    <ds:schemaRef ds:uri="http://schemas.microsoft.com/office/infopath/2007/PartnerControls"/>
    <ds:schemaRef ds:uri="http://schemas.microsoft.com/office/2006/metadata/properties"/>
    <ds:schemaRef ds:uri="http://purl.org/dc/elements/1.1/"/>
    <ds:schemaRef ds:uri="http://schemas.openxmlformats.org/package/2006/metadata/core-properties"/>
    <ds:schemaRef ds:uri="0c1a6c9c-f016-4857-bf43-21b252e701d9"/>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1054</TotalTime>
  <Words>3898</Words>
  <Application>Microsoft Office PowerPoint</Application>
  <PresentationFormat>Widescreen</PresentationFormat>
  <Paragraphs>280</Paragraphs>
  <Slides>20</Slides>
  <Notes>15</Notes>
  <HiddenSlides>0</HiddenSlides>
  <MMClips>0</MMClips>
  <ScaleCrop>false</ScaleCrop>
  <HeadingPairs>
    <vt:vector size="4" baseType="variant">
      <vt:variant>
        <vt:lpstr>Theme</vt:lpstr>
      </vt:variant>
      <vt:variant>
        <vt:i4>1</vt:i4>
      </vt:variant>
      <vt:variant>
        <vt:lpstr>Slide Titles</vt:lpstr>
      </vt:variant>
      <vt:variant>
        <vt:i4>20</vt:i4>
      </vt:variant>
    </vt:vector>
  </HeadingPairs>
  <TitlesOfParts>
    <vt:vector size="21" baseType="lpstr">
      <vt:lpstr>White Template</vt:lpstr>
      <vt:lpstr>PowerPoint Presentation</vt:lpstr>
      <vt:lpstr>Microsoft Teams : un succès croissant auprès  des équipes dans le monde entier</vt:lpstr>
      <vt:lpstr>Microsoft Teams  est la plateforme de travail en équipe</vt:lpstr>
      <vt:lpstr>Discutez, réunissez-vous, appelez et collaborez en un seul endroit, où que vous soyez grâce à Microsoft Teams</vt:lpstr>
      <vt:lpstr>Tirez parti de Microsoft Teams pour rassembler toutes vos activités en un seul endroit</vt:lpstr>
      <vt:lpstr>Communiquez par chat</vt:lpstr>
      <vt:lpstr>Organisez des réunions attrayantes et productives</vt:lpstr>
      <vt:lpstr>Collaborez avec des applications Office 365 intégrées</vt:lpstr>
      <vt:lpstr>Personnalisez et étendez la collaboration</vt:lpstr>
      <vt:lpstr>Travaillez en toute sécurité et en toute confiance</vt:lpstr>
      <vt:lpstr>Trek Bicycle</vt:lpstr>
      <vt:lpstr>J. Walter Thompson </vt:lpstr>
      <vt:lpstr>Dentsu Aegis Network</vt:lpstr>
      <vt:lpstr>Three</vt:lpstr>
      <vt:lpstr>Hendrick Motorsports</vt:lpstr>
      <vt:lpstr>Étapes suivantes</vt:lpstr>
      <vt:lpstr>Annexe</vt:lpstr>
      <vt:lpstr>Soyez plus préparé que jamais</vt:lpstr>
      <vt:lpstr>Assurez le suivi et n’oubliez rien</vt:lpstr>
      <vt:lpstr>Mettre en place le travail à distance dans toute l’entrepris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ana Mary Pyngrope [Chillibreeze]</dc:creator>
  <cp:lastModifiedBy>Uraitip Attachotsakda</cp:lastModifiedBy>
  <cp:revision>228</cp:revision>
  <dcterms:created xsi:type="dcterms:W3CDTF">2020-06-01T17:13:25Z</dcterms:created>
  <dcterms:modified xsi:type="dcterms:W3CDTF">2020-07-29T22:4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3068A6C218A84EB3BCF7C8CFE1E1AE</vt:lpwstr>
  </property>
</Properties>
</file>